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3.xml" ContentType="application/vnd.openxmlformats-officedocument.theme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4.xml" ContentType="application/vnd.openxmlformats-officedocument.theme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6.xml" ContentType="application/vnd.openxmlformats-officedocument.theme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theme/theme7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theme/theme8.xml" ContentType="application/vnd.openxmlformats-officedocument.theme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theme/theme9.xml" ContentType="application/vnd.openxmlformats-officedocument.theme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theme/theme10.xml" ContentType="application/vnd.openxmlformats-officedocument.theme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theme/theme11.xml" ContentType="application/vnd.openxmlformats-officedocument.theme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theme/theme1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theme/theme13.xml" ContentType="application/vnd.openxmlformats-officedocument.theme+xml"/>
  <Override PartName="/ppt/theme/theme14.xml" ContentType="application/vnd.openxmlformats-officedocument.theme+xml"/>
  <Override PartName="/ppt/theme/theme1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removePersonalInfoOnSave="1" saveSubsetFonts="1" autoCompressPictures="0">
  <p:sldMasterIdLst>
    <p:sldMasterId id="2147484460" r:id="rId4"/>
    <p:sldMasterId id="2147484533" r:id="rId5"/>
    <p:sldMasterId id="2147484891" r:id="rId6"/>
    <p:sldMasterId id="2147484951" r:id="rId7"/>
    <p:sldMasterId id="2147484956" r:id="rId8"/>
    <p:sldMasterId id="2147484967" r:id="rId9"/>
    <p:sldMasterId id="2147484989" r:id="rId10"/>
    <p:sldMasterId id="2147485016" r:id="rId11"/>
    <p:sldMasterId id="2147483650" r:id="rId12"/>
    <p:sldMasterId id="2147483652" r:id="rId13"/>
    <p:sldMasterId id="2147485036" r:id="rId14"/>
    <p:sldMasterId id="2147485042" r:id="rId15"/>
    <p:sldMasterId id="2147485075" r:id="rId16"/>
  </p:sldMasterIdLst>
  <p:notesMasterIdLst>
    <p:notesMasterId r:id="rId36"/>
  </p:notesMasterIdLst>
  <p:handoutMasterIdLst>
    <p:handoutMasterId r:id="rId37"/>
  </p:handoutMasterIdLst>
  <p:sldIdLst>
    <p:sldId id="6050" r:id="rId17"/>
    <p:sldId id="4909" r:id="rId18"/>
    <p:sldId id="2147376146" r:id="rId19"/>
    <p:sldId id="2147376166" r:id="rId20"/>
    <p:sldId id="2147376155" r:id="rId21"/>
    <p:sldId id="2147376154" r:id="rId22"/>
    <p:sldId id="2147376140" r:id="rId23"/>
    <p:sldId id="2147376157" r:id="rId24"/>
    <p:sldId id="2147376158" r:id="rId25"/>
    <p:sldId id="2147376159" r:id="rId26"/>
    <p:sldId id="2147376160" r:id="rId27"/>
    <p:sldId id="2147376165" r:id="rId28"/>
    <p:sldId id="2147376164" r:id="rId29"/>
    <p:sldId id="2147376163" r:id="rId30"/>
    <p:sldId id="2147376162" r:id="rId31"/>
    <p:sldId id="2147376161" r:id="rId32"/>
    <p:sldId id="2147376010" r:id="rId33"/>
    <p:sldId id="2147376145" r:id="rId34"/>
    <p:sldId id="2147376011" r:id="rId35"/>
  </p:sldIdLst>
  <p:sldSz cx="13004800" cy="7315200"/>
  <p:notesSz cx="9388475" cy="7102475"/>
  <p:defaultTextStyle>
    <a:defPPr>
      <a:defRPr lang="en-US"/>
    </a:defPPr>
    <a:lvl1pPr marL="0" algn="l" defTabSz="48317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83176" algn="l" defTabSz="48317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66354" algn="l" defTabSz="48317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49529" algn="l" defTabSz="48317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32708" algn="l" defTabSz="48317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415885" algn="l" defTabSz="48317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99063" algn="l" defTabSz="48317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82239" algn="l" defTabSz="48317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65415" algn="l" defTabSz="48317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979BF7FD-5784-43D2-9F78-9EAEC33213F6}">
          <p14:sldIdLst>
            <p14:sldId id="6050"/>
            <p14:sldId id="4909"/>
            <p14:sldId id="2147376146"/>
            <p14:sldId id="2147376166"/>
            <p14:sldId id="2147376155"/>
            <p14:sldId id="2147376154"/>
            <p14:sldId id="2147376140"/>
            <p14:sldId id="2147376157"/>
            <p14:sldId id="2147376158"/>
            <p14:sldId id="2147376159"/>
            <p14:sldId id="2147376160"/>
            <p14:sldId id="2147376165"/>
            <p14:sldId id="2147376164"/>
            <p14:sldId id="2147376163"/>
            <p14:sldId id="2147376162"/>
            <p14:sldId id="2147376161"/>
          </p14:sldIdLst>
        </p14:section>
        <p14:section name="Appendix" id="{F4D773BC-F2EE-4A3E-909D-8AB9E6E1CB80}">
          <p14:sldIdLst>
            <p14:sldId id="2147376010"/>
            <p14:sldId id="2147376145"/>
            <p14:sldId id="2147376011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544" userDrawn="1">
          <p15:clr>
            <a:srgbClr val="A4A3A4"/>
          </p15:clr>
        </p15:guide>
        <p15:guide id="2" userDrawn="1">
          <p15:clr>
            <a:srgbClr val="A4A3A4"/>
          </p15:clr>
        </p15:guide>
        <p15:guide id="3" orient="horz" pos="4566" userDrawn="1">
          <p15:clr>
            <a:srgbClr val="A4A3A4"/>
          </p15:clr>
        </p15:guide>
        <p15:guide id="4" pos="616" userDrawn="1">
          <p15:clr>
            <a:srgbClr val="A4A3A4"/>
          </p15:clr>
        </p15:guide>
        <p15:guide id="5" pos="7792" userDrawn="1">
          <p15:clr>
            <a:srgbClr val="A4A3A4"/>
          </p15:clr>
        </p15:guide>
        <p15:guide id="6" pos="3377" userDrawn="1">
          <p15:clr>
            <a:srgbClr val="A4A3A4"/>
          </p15:clr>
        </p15:guide>
        <p15:guide id="7" orient="horz" pos="3528" userDrawn="1">
          <p15:clr>
            <a:srgbClr val="A4A3A4"/>
          </p15:clr>
        </p15:guide>
        <p15:guide id="8" pos="578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0" name="Author" initials="A" lastIdx="2541" clrIdx="2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4AE53"/>
    <a:srgbClr val="000000"/>
    <a:srgbClr val="D9D9D9"/>
    <a:srgbClr val="E3C88D"/>
    <a:srgbClr val="31006F"/>
    <a:srgbClr val="E8D2A0"/>
    <a:srgbClr val="00B050"/>
    <a:srgbClr val="C5EDD8"/>
    <a:srgbClr val="F1E7FF"/>
    <a:srgbClr val="00206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D26B9C5-DBCC-4CA7-9264-FA1E6DBDCA3B}" v="3456" dt="2024-04-09T16:57:21.391"/>
    <p1510:client id="{75A944CB-3A87-4A95-8351-8CD516A6EF9A}" v="7" dt="2024-04-08T17:14:50.74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950" autoAdjust="0"/>
    <p:restoredTop sz="89744" autoAdjust="0"/>
  </p:normalViewPr>
  <p:slideViewPr>
    <p:cSldViewPr snapToGrid="0">
      <p:cViewPr>
        <p:scale>
          <a:sx n="80" d="100"/>
          <a:sy n="80" d="100"/>
        </p:scale>
        <p:origin x="1650" y="468"/>
      </p:cViewPr>
      <p:guideLst>
        <p:guide orient="horz" pos="2544"/>
        <p:guide/>
        <p:guide orient="horz" pos="4566"/>
        <p:guide pos="616"/>
        <p:guide pos="7792"/>
        <p:guide pos="3377"/>
        <p:guide orient="horz" pos="3528"/>
        <p:guide pos="5789"/>
      </p:guideLst>
    </p:cSldViewPr>
  </p:slideViewPr>
  <p:outlineViewPr>
    <p:cViewPr>
      <p:scale>
        <a:sx n="33" d="100"/>
        <a:sy n="33" d="100"/>
      </p:scale>
      <p:origin x="0" y="-3701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>
        <p:scale>
          <a:sx n="1" d="2"/>
          <a:sy n="1" d="2"/>
        </p:scale>
        <p:origin x="2240" y="30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2.xml"/><Relationship Id="rId26" Type="http://schemas.openxmlformats.org/officeDocument/2006/relationships/slide" Target="slides/slide10.xml"/><Relationship Id="rId39" Type="http://schemas.openxmlformats.org/officeDocument/2006/relationships/presProps" Target="presProps.xml"/><Relationship Id="rId21" Type="http://schemas.openxmlformats.org/officeDocument/2006/relationships/slide" Target="slides/slide5.xml"/><Relationship Id="rId34" Type="http://schemas.openxmlformats.org/officeDocument/2006/relationships/slide" Target="slides/slide18.xml"/><Relationship Id="rId42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0" Type="http://schemas.openxmlformats.org/officeDocument/2006/relationships/slide" Target="slides/slide4.xml"/><Relationship Id="rId29" Type="http://schemas.openxmlformats.org/officeDocument/2006/relationships/slide" Target="slides/slide13.xml"/><Relationship Id="rId41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8.xml"/><Relationship Id="rId32" Type="http://schemas.openxmlformats.org/officeDocument/2006/relationships/slide" Target="slides/slide16.xml"/><Relationship Id="rId37" Type="http://schemas.openxmlformats.org/officeDocument/2006/relationships/handoutMaster" Target="handoutMasters/handoutMaster1.xml"/><Relationship Id="rId40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" Target="slides/slide7.xml"/><Relationship Id="rId28" Type="http://schemas.openxmlformats.org/officeDocument/2006/relationships/slide" Target="slides/slide12.xml"/><Relationship Id="rId36" Type="http://schemas.openxmlformats.org/officeDocument/2006/relationships/notesMaster" Target="notesMasters/notesMaster1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3.xml"/><Relationship Id="rId31" Type="http://schemas.openxmlformats.org/officeDocument/2006/relationships/slide" Target="slides/slide15.xml"/><Relationship Id="rId44" Type="http://schemas.microsoft.com/office/2018/10/relationships/authors" Target="author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" Target="slides/slide6.xml"/><Relationship Id="rId27" Type="http://schemas.openxmlformats.org/officeDocument/2006/relationships/slide" Target="slides/slide11.xml"/><Relationship Id="rId30" Type="http://schemas.openxmlformats.org/officeDocument/2006/relationships/slide" Target="slides/slide14.xml"/><Relationship Id="rId35" Type="http://schemas.openxmlformats.org/officeDocument/2006/relationships/slide" Target="slides/slide19.xml"/><Relationship Id="rId43" Type="http://schemas.microsoft.com/office/2015/10/relationships/revisionInfo" Target="revisionInfo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1.xml"/><Relationship Id="rId25" Type="http://schemas.openxmlformats.org/officeDocument/2006/relationships/slide" Target="slides/slide9.xml"/><Relationship Id="rId33" Type="http://schemas.openxmlformats.org/officeDocument/2006/relationships/slide" Target="slides/slide17.xml"/><Relationship Id="rId38" Type="http://schemas.openxmlformats.org/officeDocument/2006/relationships/commentAuthors" Target="comment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9" y="4"/>
            <a:ext cx="4068340" cy="355124"/>
          </a:xfrm>
          <a:prstGeom prst="rect">
            <a:avLst/>
          </a:prstGeom>
        </p:spPr>
        <p:txBody>
          <a:bodyPr vert="horz" lIns="93406" tIns="46702" rIns="93406" bIns="46702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317972" y="4"/>
            <a:ext cx="4068340" cy="355124"/>
          </a:xfrm>
          <a:prstGeom prst="rect">
            <a:avLst/>
          </a:prstGeom>
        </p:spPr>
        <p:txBody>
          <a:bodyPr vert="horz" lIns="93406" tIns="46702" rIns="93406" bIns="46702" rtlCol="0"/>
          <a:lstStyle>
            <a:lvl1pPr algn="r">
              <a:defRPr sz="1200"/>
            </a:lvl1pPr>
          </a:lstStyle>
          <a:p>
            <a:fld id="{685F0F4D-3143-F54F-90D7-A2ABC584E48E}" type="datetimeFigureOut">
              <a:rPr lang="en-US" smtClean="0"/>
              <a:t>4/8/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9" y="6746119"/>
            <a:ext cx="4068340" cy="355124"/>
          </a:xfrm>
          <a:prstGeom prst="rect">
            <a:avLst/>
          </a:prstGeom>
        </p:spPr>
        <p:txBody>
          <a:bodyPr vert="horz" lIns="93406" tIns="46702" rIns="93406" bIns="46702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317972" y="6746119"/>
            <a:ext cx="4068340" cy="355124"/>
          </a:xfrm>
          <a:prstGeom prst="rect">
            <a:avLst/>
          </a:prstGeom>
        </p:spPr>
        <p:txBody>
          <a:bodyPr vert="horz" lIns="93406" tIns="46702" rIns="93406" bIns="46702" rtlCol="0" anchor="b"/>
          <a:lstStyle>
            <a:lvl1pPr algn="r">
              <a:defRPr sz="1200"/>
            </a:lvl1pPr>
          </a:lstStyle>
          <a:p>
            <a:fld id="{7F49EE16-A310-AE4D-9E91-6A244C3B01D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469254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9" y="4"/>
            <a:ext cx="4068340" cy="355124"/>
          </a:xfrm>
          <a:prstGeom prst="rect">
            <a:avLst/>
          </a:prstGeom>
        </p:spPr>
        <p:txBody>
          <a:bodyPr vert="horz" lIns="93406" tIns="46702" rIns="93406" bIns="46702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317972" y="4"/>
            <a:ext cx="4068340" cy="355124"/>
          </a:xfrm>
          <a:prstGeom prst="rect">
            <a:avLst/>
          </a:prstGeom>
        </p:spPr>
        <p:txBody>
          <a:bodyPr vert="horz" lIns="93406" tIns="46702" rIns="93406" bIns="46702" rtlCol="0"/>
          <a:lstStyle>
            <a:lvl1pPr algn="r">
              <a:defRPr sz="1200"/>
            </a:lvl1pPr>
          </a:lstStyle>
          <a:p>
            <a:fld id="{F133C62B-1BF1-F54A-8DA9-002D51A9B8EA}" type="datetimeFigureOut">
              <a:rPr lang="en-US" smtClean="0"/>
              <a:t>4/8/20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328863" y="533400"/>
            <a:ext cx="4730750" cy="26622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406" tIns="46702" rIns="93406" bIns="46702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38849" y="3373677"/>
            <a:ext cx="7510780" cy="3196114"/>
          </a:xfrm>
          <a:prstGeom prst="rect">
            <a:avLst/>
          </a:prstGeom>
        </p:spPr>
        <p:txBody>
          <a:bodyPr vert="horz" lIns="93406" tIns="46702" rIns="93406" bIns="46702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9" y="6746119"/>
            <a:ext cx="4068340" cy="355124"/>
          </a:xfrm>
          <a:prstGeom prst="rect">
            <a:avLst/>
          </a:prstGeom>
        </p:spPr>
        <p:txBody>
          <a:bodyPr vert="horz" lIns="93406" tIns="46702" rIns="93406" bIns="46702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317972" y="6746119"/>
            <a:ext cx="4068340" cy="355124"/>
          </a:xfrm>
          <a:prstGeom prst="rect">
            <a:avLst/>
          </a:prstGeom>
        </p:spPr>
        <p:txBody>
          <a:bodyPr vert="horz" lIns="93406" tIns="46702" rIns="93406" bIns="46702" rtlCol="0" anchor="b"/>
          <a:lstStyle>
            <a:lvl1pPr algn="r">
              <a:defRPr sz="1200"/>
            </a:lvl1pPr>
          </a:lstStyle>
          <a:p>
            <a:fld id="{21F0486C-94EE-7249-8AC8-76A196C667C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19504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0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078" algn="l" defTabSz="4570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156" algn="l" defTabSz="4570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233" algn="l" defTabSz="4570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312" algn="l" defTabSz="4570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388" algn="l" defTabSz="4570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466" algn="l" defTabSz="4570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544" algn="l" defTabSz="4570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6622" algn="l" defTabSz="4570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246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9F21B01-14D2-4074-8FB7-7DB32BE9DAAF}" type="slidenum"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2464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</a:t>
            </a:fld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9772845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461435C-5187-B590-B590-F917A7298A2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80654C9-5B20-7BA5-AE14-B0B207EC985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2328863" y="533400"/>
            <a:ext cx="4730750" cy="2662238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2DFC1D6-CE9E-1693-E7B9-A21D39CF7D3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B524EBD-203D-5C9C-3F59-AFDE8A5FBAB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831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1F0486C-94EE-7249-8AC8-76A196C667C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31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1786941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96BF8DD-DB64-2406-4B05-190E6680EBB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0EDB830-AF7D-6C62-11A6-C26853FBC88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2328863" y="533400"/>
            <a:ext cx="4730750" cy="2662238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B3657F7-DB6F-A5BD-DBCF-EE68D41F07A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A58F8A8-2922-DEDF-F578-68489DAC8A7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831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1F0486C-94EE-7249-8AC8-76A196C667C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31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7972479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246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9F21B01-14D2-4074-8FB7-7DB32BE9DAAF}" type="slidenum"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2464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5567003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257675" y="379413"/>
            <a:ext cx="3365500" cy="18923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8697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5F38A0A-9150-4B23-A36C-CA613870FED8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86974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4921435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257675" y="379413"/>
            <a:ext cx="3365500" cy="18923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rom Erika H via email: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effectLst/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losing out a grant.  A charge is placed off the grant on a non-federal placeholder due to “a reason” 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effectLst/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ince accounting adjustments can’t be split charged (</a:t>
            </a:r>
            <a:r>
              <a:rPr lang="en-US" sz="1800" dirty="0" err="1">
                <a:effectLst/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e</a:t>
            </a:r>
            <a:r>
              <a:rPr lang="en-US" sz="1800" dirty="0">
                <a:effectLst/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, we can’t take a fully debited expense and then adjust 20% on budget A grant and 80% on ICR) is best practice to: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effectLst/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 </a:t>
            </a: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+mj-lt"/>
              <a:buAutoNum type="alphaLcParenR"/>
            </a:pPr>
            <a:r>
              <a:rPr lang="en-US" sz="1800" dirty="0">
                <a:effectLst/>
                <a:latin typeface="Aptos" panose="020B000402020202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Do a shared environment reclass even in the close of a grant? Are there flags there especially since the shared environment reclass doesn’t easily tie back to the original transaction</a:t>
            </a:r>
            <a:endParaRPr lang="en-US" sz="1800" dirty="0">
              <a:effectLst/>
              <a:latin typeface="Aptos" panose="020B000402020202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+mj-lt"/>
              <a:buAutoNum type="alphaLcParenR"/>
            </a:pPr>
            <a:r>
              <a:rPr lang="en-US" sz="1800" dirty="0">
                <a:effectLst/>
                <a:latin typeface="Aptos" panose="020B000402020202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Do an accounting adjustment for the full amount which puts the grant in deficit and then ask GCA to perform a deficit transfer at the close of the grant</a:t>
            </a:r>
            <a:endParaRPr lang="en-US" sz="1800" dirty="0">
              <a:effectLst/>
              <a:latin typeface="Aptos" panose="020B000402020202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+mj-lt"/>
              <a:buAutoNum type="alphaLcParenR"/>
            </a:pPr>
            <a:r>
              <a:rPr lang="en-US" sz="1800" dirty="0">
                <a:effectLst/>
                <a:latin typeface="Aptos" panose="020B000402020202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Or other?</a:t>
            </a:r>
            <a:endParaRPr lang="en-US" sz="1800" dirty="0">
              <a:effectLst/>
              <a:latin typeface="Aptos" panose="020B000402020202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effectLst/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 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effectLst/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 see issues with both but want some best practice guidance set up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8697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5F38A0A-9150-4B23-A36C-CA613870FED8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86974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0387402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328863" y="533400"/>
            <a:ext cx="4730750" cy="26622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831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1F0486C-94EE-7249-8AC8-76A196C667C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31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534844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DBB2486-76BA-4AAA-B7CD-BB8A483FB6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8CE471D-C01F-10FB-5932-B386923112D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2328863" y="533400"/>
            <a:ext cx="4730750" cy="2662238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4DA9F48-1ADD-FA41-D6C1-65ADC664B21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380FE2E-A1F8-5B03-CD02-80F09CA0369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831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1F0486C-94EE-7249-8AC8-76A196C667C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31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6499605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DB55909-1D12-530A-A091-229715FFE02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D6F7E73-B0F3-0EBA-F7D0-9C4CBB2D08A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2328863" y="533400"/>
            <a:ext cx="4730750" cy="2662238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0E9D798-91AA-7BC9-6D6A-39B7C6700D3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AE10D05-750A-3DFB-E012-D4ED9333F6D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831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1F0486C-94EE-7249-8AC8-76A196C667C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31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2632921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6E117CA-4552-874D-DCF4-228D2B402A9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5DD0BDB-F51D-0055-B1D0-EFF4A55390B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2328863" y="533400"/>
            <a:ext cx="4730750" cy="2662238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82535FE-9B3E-B378-8A23-12DC0BBFB5D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D25185C-BAC4-2A8B-D099-7DA334F07C1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831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1F0486C-94EE-7249-8AC8-76A196C667C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31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1310522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60484D7-31B9-224D-A0D4-55ADD850AA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9C22993-F91B-A0D2-FF86-B3F20AA5EF4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2328863" y="533400"/>
            <a:ext cx="4730750" cy="2662238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F408E5C-A3AF-D8CD-F5F9-794F35BA8C0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C1067A7-6767-FE29-707C-9BB4CB848F2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831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1F0486C-94EE-7249-8AC8-76A196C667C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31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2996963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1C7C2B4-8564-2D35-1E46-4AD85103BF5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4206770-B488-2D30-7295-0CCF87406CE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2328863" y="533400"/>
            <a:ext cx="4730750" cy="2662238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390DB50-B575-A1AF-40F3-21A3B8C14EF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FF8C4B7-BEEC-242F-9685-FD495E92A6B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831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1F0486C-94EE-7249-8AC8-76A196C667C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31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0478400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139AEB5-6D41-BD16-0F66-ED2C155E9E8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B2CE0B6-47A5-262F-3968-5561395CBEE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2328863" y="533400"/>
            <a:ext cx="4730750" cy="2662238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2C8CD6C-B21D-39BF-1BED-5606395A3A8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AFACBD5-D7A0-92DA-B44C-1311F0F887E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831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1F0486C-94EE-7249-8AC8-76A196C667C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31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605926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0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0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0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10.png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10.png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1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1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1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6.png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8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2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8.png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2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6.png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2.xml"/><Relationship Id="rId5" Type="http://schemas.openxmlformats.org/officeDocument/2006/relationships/image" Target="../media/image8.png"/><Relationship Id="rId4" Type="http://schemas.openxmlformats.org/officeDocument/2006/relationships/image" Target="../media/image9.png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8.png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2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2.xml"/><Relationship Id="rId5" Type="http://schemas.openxmlformats.org/officeDocument/2006/relationships/image" Target="../media/image8.png"/><Relationship Id="rId4" Type="http://schemas.openxmlformats.org/officeDocument/2006/relationships/image" Target="../media/image9.png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8.png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6.png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2.xml"/><Relationship Id="rId5" Type="http://schemas.openxmlformats.org/officeDocument/2006/relationships/image" Target="../media/image8.png"/><Relationship Id="rId4" Type="http://schemas.openxmlformats.org/officeDocument/2006/relationships/image" Target="../media/image9.png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8.png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2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2.xml"/><Relationship Id="rId5" Type="http://schemas.openxmlformats.org/officeDocument/2006/relationships/image" Target="../media/image8.png"/><Relationship Id="rId4" Type="http://schemas.openxmlformats.org/officeDocument/2006/relationships/image" Target="../media/image9.png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8.png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2.xml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8.png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6.png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8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5.xml"/><Relationship Id="rId6" Type="http://schemas.openxmlformats.org/officeDocument/2006/relationships/image" Target="../media/image2.png"/><Relationship Id="rId5" Type="http://schemas.openxmlformats.org/officeDocument/2006/relationships/image" Target="../media/image3.emf"/><Relationship Id="rId4" Type="http://schemas.openxmlformats.org/officeDocument/2006/relationships/image" Target="../media/image12.emf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2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2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2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8.png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8.png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6.xml"/><Relationship Id="rId6" Type="http://schemas.openxmlformats.org/officeDocument/2006/relationships/image" Target="../media/image2.png"/><Relationship Id="rId5" Type="http://schemas.openxmlformats.org/officeDocument/2006/relationships/image" Target="../media/image3.emf"/><Relationship Id="rId4" Type="http://schemas.openxmlformats.org/officeDocument/2006/relationships/image" Target="../media/image12.emf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2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3.xml"/><Relationship Id="rId4" Type="http://schemas.openxmlformats.org/officeDocument/2006/relationships/image" Target="../media/image24.png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3.xml"/><Relationship Id="rId4" Type="http://schemas.openxmlformats.org/officeDocument/2006/relationships/image" Target="../media/image24.png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3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3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3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0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0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4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4.png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image" Target="../media/image12.emf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.png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8.pn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16.pn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6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8.png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6.png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8.png"/><Relationship Id="rId4" Type="http://schemas.openxmlformats.org/officeDocument/2006/relationships/image" Target="../media/image9.png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8.png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8.png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8.png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8.png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16.png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19.png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7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16.png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19.png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7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7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7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7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7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7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7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3.xml"/><Relationship Id="rId5" Type="http://schemas.openxmlformats.org/officeDocument/2006/relationships/image" Target="../media/image20.png"/><Relationship Id="rId4" Type="http://schemas.openxmlformats.org/officeDocument/2006/relationships/image" Target="../media/image12.emf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7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4.xml"/><Relationship Id="rId5" Type="http://schemas.openxmlformats.org/officeDocument/2006/relationships/image" Target="../media/image20.png"/><Relationship Id="rId4" Type="http://schemas.openxmlformats.org/officeDocument/2006/relationships/image" Target="../media/image12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8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png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8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8.png"/><Relationship Id="rId4" Type="http://schemas.openxmlformats.org/officeDocument/2006/relationships/image" Target="../media/image3.emf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2.png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10.png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24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r_RtAngle_7502_RGB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7105" y="4273157"/>
            <a:ext cx="3248786" cy="120288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955388" y="1244932"/>
            <a:ext cx="9916160" cy="2817873"/>
          </a:xfrm>
          <a:prstGeom prst="rect">
            <a:avLst/>
          </a:prstGeom>
        </p:spPr>
        <p:txBody>
          <a:bodyPr anchor="b"/>
          <a:lstStyle>
            <a:lvl1pPr algn="l">
              <a:defRPr sz="5335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TITLE HERE</a:t>
            </a:r>
            <a:br>
              <a:rPr lang="en-US"/>
            </a:br>
            <a:r>
              <a:rPr lang="en-US"/>
              <a:t>ENCODE NORMAL</a:t>
            </a:r>
            <a:br>
              <a:rPr lang="en-US"/>
            </a:br>
            <a:r>
              <a:rPr lang="en-US"/>
              <a:t>BLACK, 50 PT. 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70085" y="6319996"/>
            <a:ext cx="4689028" cy="6135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996728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54755" y="1083063"/>
            <a:ext cx="1569822" cy="137049"/>
          </a:xfrm>
          <a:prstGeom prst="rect">
            <a:avLst/>
          </a:prstGeom>
        </p:spPr>
      </p:pic>
      <p:sp>
        <p:nvSpPr>
          <p:cNvPr id="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637047" y="1323623"/>
            <a:ext cx="11658117" cy="5048729"/>
          </a:xfrm>
          <a:prstGeom prst="rect">
            <a:avLst/>
          </a:prstGeom>
        </p:spPr>
        <p:txBody>
          <a:bodyPr anchor="ctr"/>
          <a:lstStyle>
            <a:lvl1pPr marL="487684" indent="-487684">
              <a:buFont typeface="Lucida Grande"/>
              <a:buChar char="&gt;"/>
              <a:defRPr sz="3413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845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625610" indent="-325122">
              <a:buSzPct val="100000"/>
              <a:buFont typeface="Lucida Grande"/>
              <a:buChar char="&gt;"/>
              <a:defRPr sz="2560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2275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926098" indent="-325122">
              <a:buFont typeface="Lucida Grande"/>
              <a:buChar char="&gt;"/>
              <a:defRPr sz="1992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 Bold, 20)</a:t>
            </a:r>
          </a:p>
          <a:p>
            <a:pPr lvl="2"/>
            <a:r>
              <a:rPr lang="en-US"/>
              <a:t>Third level (Open Sans Bold, 18)</a:t>
            </a:r>
          </a:p>
          <a:p>
            <a:pPr lvl="3"/>
            <a:r>
              <a:rPr lang="en-US"/>
              <a:t>Fourth level (Open Sans Bold, 16)</a:t>
            </a:r>
          </a:p>
          <a:p>
            <a:pPr lvl="4"/>
            <a:r>
              <a:rPr lang="en-US"/>
              <a:t>Fifth level (Open Sans Bold, 14)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54756" y="462085"/>
            <a:ext cx="11640409" cy="517466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(ENCODE NORMAL BLACK, 30 PT.)</a:t>
            </a:r>
          </a:p>
        </p:txBody>
      </p:sp>
      <p:pic>
        <p:nvPicPr>
          <p:cNvPr id="10" name="Picture 9" descr="A close up of a logo&#10;&#10;Description automatically generated">
            <a:extLst>
              <a:ext uri="{FF2B5EF4-FFF2-40B4-BE49-F238E27FC236}">
                <a16:creationId xmlns:a16="http://schemas.microsoft.com/office/drawing/2014/main" id="{12290F2C-BE27-4FCA-A660-C90CC0BA8F0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005004" y="6720870"/>
            <a:ext cx="2335316" cy="3036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6658987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+ Sub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55387" y="396279"/>
            <a:ext cx="11640410" cy="1058131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  <a:br>
              <a:rPr lang="en-US"/>
            </a:br>
            <a:r>
              <a:rPr lang="en-US"/>
              <a:t>(ENCODE NORMAL BLACK, 30 PT.)</a:t>
            </a:r>
          </a:p>
        </p:txBody>
      </p:sp>
      <p:pic>
        <p:nvPicPr>
          <p:cNvPr id="8" name="Picture 7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5342" y="1533659"/>
            <a:ext cx="1931639" cy="71520"/>
          </a:xfrm>
          <a:prstGeom prst="rect">
            <a:avLst/>
          </a:prstGeom>
        </p:spPr>
      </p:pic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955388" y="1846046"/>
            <a:ext cx="11640408" cy="4385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2560" b="0" i="0" baseline="0">
                <a:solidFill>
                  <a:srgbClr val="4B2E83"/>
                </a:solidFill>
                <a:latin typeface="Uni Sans Regular"/>
                <a:cs typeface="Uni Sans Regular"/>
              </a:defRPr>
            </a:lvl1pPr>
            <a:lvl2pPr marL="487695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39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3086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781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LIGHT, 24 PT.)</a:t>
            </a:r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937678" y="2474921"/>
            <a:ext cx="11658118" cy="4064092"/>
          </a:xfrm>
          <a:prstGeom prst="rect">
            <a:avLst/>
          </a:prstGeom>
        </p:spPr>
        <p:txBody>
          <a:bodyPr/>
          <a:lstStyle>
            <a:lvl1pPr marL="365771" indent="-365771">
              <a:buFont typeface="Lucida Grande"/>
              <a:buChar char="&gt;"/>
              <a:defRPr sz="2560" b="1" i="0" baseline="0">
                <a:solidFill>
                  <a:srgbClr val="4B2E83"/>
                </a:solidFill>
                <a:latin typeface="Open Sans"/>
                <a:cs typeface="Open Sans"/>
              </a:defRPr>
            </a:lvl1pPr>
            <a:lvl2pPr>
              <a:defRPr sz="2133" b="1" i="0" baseline="0">
                <a:solidFill>
                  <a:srgbClr val="4B2E83"/>
                </a:solidFill>
                <a:latin typeface="Open Sans"/>
                <a:cs typeface="Open Sans"/>
              </a:defRPr>
            </a:lvl2pPr>
            <a:lvl3pPr marL="1219238" indent="-243848">
              <a:buSzPct val="100000"/>
              <a:buFont typeface="Lucida Grande"/>
              <a:buChar char="&gt;"/>
              <a:defRPr sz="1920" b="1" i="0" baseline="0">
                <a:solidFill>
                  <a:srgbClr val="4B2E83"/>
                </a:solidFill>
                <a:latin typeface="Open Sans"/>
                <a:cs typeface="Open Sans"/>
              </a:defRPr>
            </a:lvl3pPr>
            <a:lvl4pPr>
              <a:defRPr sz="1707" b="1" i="0" baseline="0">
                <a:solidFill>
                  <a:srgbClr val="4B2E83"/>
                </a:solidFill>
                <a:latin typeface="Open Sans"/>
                <a:cs typeface="Open Sans"/>
              </a:defRPr>
            </a:lvl4pPr>
            <a:lvl5pPr marL="2194629" indent="-243848">
              <a:buFont typeface="Lucida Grande"/>
              <a:buChar char="&gt;"/>
              <a:defRPr sz="1493" b="1" i="0" baseline="0">
                <a:solidFill>
                  <a:srgbClr val="4B2E83"/>
                </a:solidFill>
                <a:latin typeface="Open Sans"/>
                <a:cs typeface="Open Sans"/>
              </a:defRPr>
            </a:lvl5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 Bold, 20)</a:t>
            </a:r>
          </a:p>
          <a:p>
            <a:pPr lvl="2"/>
            <a:r>
              <a:rPr lang="en-US"/>
              <a:t>Third level (Open Sans Bold, 18)</a:t>
            </a:r>
          </a:p>
          <a:p>
            <a:pPr lvl="3"/>
            <a:r>
              <a:rPr lang="en-US"/>
              <a:t>Fourth level (Open Sans Bold, 16)</a:t>
            </a:r>
          </a:p>
          <a:p>
            <a:pPr lvl="4"/>
            <a:r>
              <a:rPr lang="en-US"/>
              <a:t>Fifth level (Open Sans Bold, 14)</a:t>
            </a:r>
          </a:p>
        </p:txBody>
      </p:sp>
      <p:pic>
        <p:nvPicPr>
          <p:cNvPr id="9" name="Picture 8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76844" y="6919954"/>
            <a:ext cx="3449308" cy="1742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2872654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55387" y="396279"/>
            <a:ext cx="11639124" cy="1058131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  <a:br>
              <a:rPr lang="en-US"/>
            </a:br>
            <a:r>
              <a:rPr lang="en-US"/>
              <a:t>(ENCODE NORMAL BLACK, 30 PT.)</a:t>
            </a:r>
          </a:p>
        </p:txBody>
      </p:sp>
      <p:pic>
        <p:nvPicPr>
          <p:cNvPr id="7" name="Picture 6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5342" y="1533659"/>
            <a:ext cx="1931639" cy="71520"/>
          </a:xfrm>
          <a:prstGeom prst="rect">
            <a:avLst/>
          </a:prstGeom>
        </p:spPr>
      </p:pic>
      <p:sp>
        <p:nvSpPr>
          <p:cNvPr id="6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937678" y="1852507"/>
            <a:ext cx="11656832" cy="4283197"/>
          </a:xfrm>
          <a:prstGeom prst="rect">
            <a:avLst/>
          </a:prstGeom>
        </p:spPr>
        <p:txBody>
          <a:bodyPr/>
          <a:lstStyle>
            <a:lvl1pPr marL="365771" indent="-365771">
              <a:buFont typeface="Lucida Grande"/>
              <a:buChar char="&gt;"/>
              <a:defRPr sz="2560" b="1" i="0" baseline="0">
                <a:solidFill>
                  <a:srgbClr val="4B2E83"/>
                </a:solidFill>
                <a:latin typeface="Open Sans"/>
                <a:cs typeface="Open Sans"/>
              </a:defRPr>
            </a:lvl1pPr>
            <a:lvl2pPr>
              <a:defRPr sz="2133" b="1" i="0" baseline="0">
                <a:solidFill>
                  <a:srgbClr val="4B2E83"/>
                </a:solidFill>
                <a:latin typeface="Open Sans"/>
                <a:cs typeface="Open Sans"/>
              </a:defRPr>
            </a:lvl2pPr>
            <a:lvl3pPr marL="1219238" indent="-243848">
              <a:buSzPct val="100000"/>
              <a:buFont typeface="Lucida Grande"/>
              <a:buChar char="&gt;"/>
              <a:defRPr sz="1920" b="1" i="0" baseline="0">
                <a:solidFill>
                  <a:srgbClr val="4B2E83"/>
                </a:solidFill>
                <a:latin typeface="Open Sans"/>
                <a:cs typeface="Open Sans"/>
              </a:defRPr>
            </a:lvl3pPr>
            <a:lvl4pPr>
              <a:defRPr sz="1707" b="1" i="0" baseline="0">
                <a:solidFill>
                  <a:srgbClr val="4B2E83"/>
                </a:solidFill>
                <a:latin typeface="Open Sans"/>
                <a:cs typeface="Open Sans"/>
              </a:defRPr>
            </a:lvl4pPr>
            <a:lvl5pPr marL="2194629" indent="-243848">
              <a:buFont typeface="Lucida Grande"/>
              <a:buChar char="&gt;"/>
              <a:defRPr sz="1493" b="1" i="0" baseline="0">
                <a:solidFill>
                  <a:srgbClr val="4B2E83"/>
                </a:solidFill>
                <a:latin typeface="Open Sans"/>
                <a:cs typeface="Open Sans"/>
              </a:defRPr>
            </a:lvl5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 Bold, 20)</a:t>
            </a:r>
          </a:p>
          <a:p>
            <a:pPr lvl="2"/>
            <a:r>
              <a:rPr lang="en-US"/>
              <a:t>Third level (Open Sans Bold, 18)</a:t>
            </a:r>
          </a:p>
          <a:p>
            <a:pPr lvl="3"/>
            <a:r>
              <a:rPr lang="en-US"/>
              <a:t>Fourth level (Open Sans Bold, 16)</a:t>
            </a:r>
          </a:p>
          <a:p>
            <a:pPr lvl="4"/>
            <a:r>
              <a:rPr lang="en-US"/>
              <a:t>Fifth level (Open Sans Bold, 14)</a:t>
            </a:r>
          </a:p>
        </p:txBody>
      </p:sp>
      <p:pic>
        <p:nvPicPr>
          <p:cNvPr id="9" name="Picture 8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2909" y="6346037"/>
            <a:ext cx="1950720" cy="9851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0220414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+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55387" y="396279"/>
            <a:ext cx="11543671" cy="1058131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  <a:br>
              <a:rPr lang="en-US"/>
            </a:br>
            <a:r>
              <a:rPr lang="en-US"/>
              <a:t>(ENCODE NORMAL BLACK, 30 PT.)</a:t>
            </a:r>
          </a:p>
        </p:txBody>
      </p:sp>
      <p:pic>
        <p:nvPicPr>
          <p:cNvPr id="6" name="Picture 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5342" y="1533659"/>
            <a:ext cx="1931639" cy="71520"/>
          </a:xfrm>
          <a:prstGeom prst="rect">
            <a:avLst/>
          </a:prstGeom>
        </p:spPr>
      </p:pic>
      <p:sp>
        <p:nvSpPr>
          <p:cNvPr id="12" name="Chart Placeholder 11"/>
          <p:cNvSpPr>
            <a:spLocks noGrp="1"/>
          </p:cNvSpPr>
          <p:nvPr>
            <p:ph type="chart" sz="quarter" idx="12" hasCustomPrompt="1"/>
          </p:nvPr>
        </p:nvSpPr>
        <p:spPr>
          <a:xfrm>
            <a:off x="1090508" y="1852507"/>
            <a:ext cx="11408550" cy="472778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560" b="0" i="1" baseline="0">
                <a:solidFill>
                  <a:srgbClr val="999999"/>
                </a:solidFill>
                <a:latin typeface="Open Sans Light"/>
                <a:cs typeface="Open Sans Light"/>
              </a:defRPr>
            </a:lvl1pPr>
          </a:lstStyle>
          <a:p>
            <a:r>
              <a:rPr lang="en-US"/>
              <a:t>Graphics can go here – </a:t>
            </a:r>
            <a:br>
              <a:rPr lang="en-US"/>
            </a:br>
            <a:r>
              <a:rPr lang="en-US"/>
              <a:t>replace this box with your image or chart</a:t>
            </a:r>
          </a:p>
        </p:txBody>
      </p:sp>
      <p:pic>
        <p:nvPicPr>
          <p:cNvPr id="7" name="Picture 6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49750" y="6919954"/>
            <a:ext cx="3449308" cy="1742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9552486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54756" y="917323"/>
            <a:ext cx="9916160" cy="3757164"/>
          </a:xfrm>
          <a:prstGeom prst="rect">
            <a:avLst/>
          </a:prstGeom>
        </p:spPr>
        <p:txBody>
          <a:bodyPr anchor="b"/>
          <a:lstStyle>
            <a:lvl1pPr algn="l">
              <a:defRPr sz="7111" b="1" i="0" baseline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r>
              <a:rPr lang="en-US" dirty="0"/>
              <a:t>TITLE HERE</a:t>
            </a:r>
            <a:br>
              <a:rPr lang="en-US" dirty="0"/>
            </a:br>
            <a:r>
              <a:rPr lang="en-US" dirty="0"/>
              <a:t>ENCODE NORMAL</a:t>
            </a:r>
            <a:br>
              <a:rPr lang="en-US" dirty="0"/>
            </a:br>
            <a:r>
              <a:rPr lang="en-US" dirty="0"/>
              <a:t>BLACK, 50 PT.</a:t>
            </a:r>
          </a:p>
        </p:txBody>
      </p:sp>
      <p:pic>
        <p:nvPicPr>
          <p:cNvPr id="8" name="Picture 7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07937" y="4873172"/>
            <a:ext cx="2275840" cy="198684"/>
          </a:xfrm>
          <a:prstGeom prst="rect">
            <a:avLst/>
          </a:prstGeom>
        </p:spPr>
      </p:pic>
      <p:pic>
        <p:nvPicPr>
          <p:cNvPr id="2" name="Picture 1" descr="Be Boundless logo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07938" y="6540241"/>
            <a:ext cx="3436477" cy="303625"/>
          </a:xfrm>
          <a:prstGeom prst="rect">
            <a:avLst/>
          </a:prstGeom>
        </p:spPr>
      </p:pic>
      <p:pic>
        <p:nvPicPr>
          <p:cNvPr id="7" name="Picture 6" descr="W logo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3790" y="6001715"/>
            <a:ext cx="1950720" cy="13134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7535797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54755" y="917323"/>
            <a:ext cx="9989035" cy="3757164"/>
          </a:xfrm>
          <a:prstGeom prst="rect">
            <a:avLst/>
          </a:prstGeom>
        </p:spPr>
        <p:txBody>
          <a:bodyPr anchor="b"/>
          <a:lstStyle>
            <a:lvl1pPr algn="l">
              <a:defRPr sz="7111" b="1" i="0" baseline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r>
              <a:rPr lang="en-US" dirty="0"/>
              <a:t>TITLE HERE </a:t>
            </a:r>
            <a:br>
              <a:rPr lang="en-US" dirty="0"/>
            </a:br>
            <a:r>
              <a:rPr lang="en-US" dirty="0"/>
              <a:t>ENCODE NORMAL BLACK, 50 PT.</a:t>
            </a:r>
          </a:p>
        </p:txBody>
      </p:sp>
      <p:pic>
        <p:nvPicPr>
          <p:cNvPr id="9" name="Picture 8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07937" y="4873172"/>
            <a:ext cx="2275840" cy="198684"/>
          </a:xfrm>
          <a:prstGeom prst="rect">
            <a:avLst/>
          </a:prstGeom>
        </p:spPr>
      </p:pic>
      <p:pic>
        <p:nvPicPr>
          <p:cNvPr id="8" name="Picture 7" descr="University of Washington logo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7938" y="6649643"/>
            <a:ext cx="3612444" cy="245065"/>
          </a:xfrm>
          <a:prstGeom prst="rect">
            <a:avLst/>
          </a:prstGeom>
        </p:spPr>
      </p:pic>
      <p:pic>
        <p:nvPicPr>
          <p:cNvPr id="7" name="Picture 6" descr="W logo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3790" y="6001715"/>
            <a:ext cx="1950720" cy="13134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9308238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+ Sub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7046" y="528370"/>
            <a:ext cx="11658118" cy="1413369"/>
          </a:xfrm>
          <a:prstGeom prst="rect">
            <a:avLst/>
          </a:prstGeom>
        </p:spPr>
        <p:txBody>
          <a:bodyPr anchor="b"/>
          <a:lstStyle>
            <a:lvl1pPr algn="l">
              <a:defRPr sz="4267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 dirty="0"/>
              <a:t>HEADER HERE </a:t>
            </a:r>
            <a:br>
              <a:rPr lang="en-US" dirty="0"/>
            </a:br>
            <a:r>
              <a:rPr lang="en-US" dirty="0"/>
              <a:t>(ENCODE NORMAL BLACK, 30 PT.)</a:t>
            </a:r>
          </a:p>
        </p:txBody>
      </p:sp>
      <p:pic>
        <p:nvPicPr>
          <p:cNvPr id="11" name="Picture 10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0845" y="1939211"/>
            <a:ext cx="1569822" cy="137048"/>
          </a:xfrm>
          <a:prstGeom prst="rect">
            <a:avLst/>
          </a:prstGeom>
        </p:spPr>
      </p:pic>
      <p:sp>
        <p:nvSpPr>
          <p:cNvPr id="10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54756" y="2461394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3413" b="0" i="0" baseline="0">
                <a:solidFill>
                  <a:schemeClr val="tx2"/>
                </a:solidFill>
                <a:latin typeface="Uni Sans" charset="0"/>
                <a:ea typeface="Uni Sans" charset="0"/>
                <a:cs typeface="Uni Sans" charset="0"/>
              </a:defRPr>
            </a:lvl1pPr>
            <a:lvl2pPr marL="65023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130046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95069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2600919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 dirty="0"/>
              <a:t>SUB-HEADER HERE (UNI SANS REGULAR, 24 PT.)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637046" y="3299896"/>
            <a:ext cx="11658118" cy="3202505"/>
          </a:xfrm>
          <a:prstGeom prst="rect">
            <a:avLst/>
          </a:prstGeom>
        </p:spPr>
        <p:txBody>
          <a:bodyPr/>
          <a:lstStyle>
            <a:lvl1pPr marL="487672" indent="-487672">
              <a:buFont typeface="Lucida Grande"/>
              <a:buChar char="&gt;"/>
              <a:defRPr sz="3413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844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625575" indent="-325115">
              <a:buSzPct val="100000"/>
              <a:buFont typeface="Lucida Grande"/>
              <a:buChar char="&gt;"/>
              <a:defRPr sz="2560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2276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926034" indent="-325115">
              <a:buFont typeface="Lucida Grande"/>
              <a:buChar char="&gt;"/>
              <a:defRPr sz="1991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</a:lstStyle>
          <a:p>
            <a:pPr lvl="0"/>
            <a:r>
              <a:rPr lang="en-US" dirty="0"/>
              <a:t>Content here (Open Sans Bold, 24 pt.)</a:t>
            </a:r>
          </a:p>
          <a:p>
            <a:pPr lvl="1"/>
            <a:r>
              <a:rPr lang="en-US" dirty="0"/>
              <a:t>Second level (Open Sans Bold, 20)</a:t>
            </a:r>
          </a:p>
          <a:p>
            <a:pPr lvl="2"/>
            <a:r>
              <a:rPr lang="en-US" dirty="0"/>
              <a:t>Third level (Open Sans Bold, 18)</a:t>
            </a:r>
          </a:p>
          <a:p>
            <a:pPr lvl="3"/>
            <a:r>
              <a:rPr lang="en-US" dirty="0"/>
              <a:t>Fourth level (Open Sans Bold, 16)</a:t>
            </a:r>
          </a:p>
          <a:p>
            <a:pPr lvl="4"/>
            <a:r>
              <a:rPr lang="en-US" dirty="0"/>
              <a:t>Fifth level (Open Sans Bold, 14)</a:t>
            </a:r>
          </a:p>
        </p:txBody>
      </p:sp>
      <p:pic>
        <p:nvPicPr>
          <p:cNvPr id="19" name="Picture 18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82720" y="6649643"/>
            <a:ext cx="3612444" cy="2450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4710648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+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7046" y="525843"/>
            <a:ext cx="11658118" cy="1413369"/>
          </a:xfrm>
          <a:prstGeom prst="rect">
            <a:avLst/>
          </a:prstGeom>
        </p:spPr>
        <p:txBody>
          <a:bodyPr anchor="b"/>
          <a:lstStyle>
            <a:lvl1pPr algn="l">
              <a:defRPr sz="4267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 dirty="0"/>
              <a:t>HEADER HERE </a:t>
            </a:r>
            <a:br>
              <a:rPr lang="en-US" dirty="0"/>
            </a:br>
            <a:r>
              <a:rPr lang="en-US" dirty="0"/>
              <a:t>(ENCODE NORMAL BLACK, 30 PT.)</a:t>
            </a:r>
          </a:p>
        </p:txBody>
      </p:sp>
      <p:pic>
        <p:nvPicPr>
          <p:cNvPr id="12" name="Picture 1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0845" y="1939211"/>
            <a:ext cx="1569822" cy="137048"/>
          </a:xfrm>
          <a:prstGeom prst="rect">
            <a:avLst/>
          </a:prstGeom>
        </p:spPr>
      </p:pic>
      <p:sp>
        <p:nvSpPr>
          <p:cNvPr id="7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637046" y="2461394"/>
            <a:ext cx="11658118" cy="3364837"/>
          </a:xfrm>
          <a:prstGeom prst="rect">
            <a:avLst/>
          </a:prstGeom>
        </p:spPr>
        <p:txBody>
          <a:bodyPr/>
          <a:lstStyle>
            <a:lvl1pPr marL="487672" indent="-487672">
              <a:buFont typeface="Lucida Grande"/>
              <a:buChar char="&gt;"/>
              <a:defRPr sz="3413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844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625575" indent="-325115">
              <a:buSzPct val="100000"/>
              <a:buFont typeface="Lucida Grande"/>
              <a:buChar char="&gt;"/>
              <a:defRPr sz="2560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2276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926034" indent="-325115">
              <a:buFont typeface="Lucida Grande"/>
              <a:buChar char="&gt;"/>
              <a:defRPr sz="1991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</a:lstStyle>
          <a:p>
            <a:pPr lvl="0"/>
            <a:r>
              <a:rPr lang="en-US" dirty="0"/>
              <a:t>Content here (Open Sans Bold, 24 pt.)</a:t>
            </a:r>
          </a:p>
          <a:p>
            <a:pPr lvl="1"/>
            <a:r>
              <a:rPr lang="en-US" dirty="0"/>
              <a:t>Second level (Open Sans Bold, 20)</a:t>
            </a:r>
          </a:p>
          <a:p>
            <a:pPr lvl="2"/>
            <a:r>
              <a:rPr lang="en-US" dirty="0"/>
              <a:t>Third level (Open Sans Bold, 18)</a:t>
            </a:r>
          </a:p>
          <a:p>
            <a:pPr lvl="3"/>
            <a:r>
              <a:rPr lang="en-US" dirty="0"/>
              <a:t>Fourth level (Open Sans Bold, 16)</a:t>
            </a:r>
          </a:p>
          <a:p>
            <a:pPr lvl="4"/>
            <a:r>
              <a:rPr lang="en-US" dirty="0"/>
              <a:t>Fifth level (Open Sans Bold, 14)</a:t>
            </a:r>
          </a:p>
        </p:txBody>
      </p:sp>
      <p:pic>
        <p:nvPicPr>
          <p:cNvPr id="13" name="Picture 1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3790" y="6001715"/>
            <a:ext cx="1950720" cy="13134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1104450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+ Graphic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54756" y="527108"/>
            <a:ext cx="11640408" cy="1413369"/>
          </a:xfrm>
          <a:prstGeom prst="rect">
            <a:avLst/>
          </a:prstGeom>
        </p:spPr>
        <p:txBody>
          <a:bodyPr anchor="b"/>
          <a:lstStyle>
            <a:lvl1pPr algn="l">
              <a:defRPr sz="4267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 dirty="0"/>
              <a:t>HEADER HERE </a:t>
            </a:r>
            <a:br>
              <a:rPr lang="en-US" dirty="0"/>
            </a:br>
            <a:r>
              <a:rPr lang="en-US" dirty="0"/>
              <a:t>(ENCODE NORMAL BLACK, 30 PT.)</a:t>
            </a:r>
          </a:p>
        </p:txBody>
      </p:sp>
      <p:pic>
        <p:nvPicPr>
          <p:cNvPr id="13" name="Picture 1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0845" y="1939211"/>
            <a:ext cx="1569822" cy="137048"/>
          </a:xfrm>
          <a:prstGeom prst="rect">
            <a:avLst/>
          </a:prstGeom>
        </p:spPr>
      </p:pic>
      <p:sp>
        <p:nvSpPr>
          <p:cNvPr id="6" name="Chart Placeholder 11"/>
          <p:cNvSpPr>
            <a:spLocks noGrp="1"/>
          </p:cNvSpPr>
          <p:nvPr>
            <p:ph type="chart" sz="quarter" idx="12" hasCustomPrompt="1"/>
          </p:nvPr>
        </p:nvSpPr>
        <p:spPr>
          <a:xfrm>
            <a:off x="637046" y="2453301"/>
            <a:ext cx="11640408" cy="402228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3413" b="0" i="1" baseline="0">
                <a:solidFill>
                  <a:srgbClr val="FFFFFF"/>
                </a:solidFill>
                <a:latin typeface="Open Sans Light"/>
                <a:cs typeface="Open Sans Light"/>
              </a:defRPr>
            </a:lvl1pPr>
          </a:lstStyle>
          <a:p>
            <a:r>
              <a:rPr lang="en-US" dirty="0"/>
              <a:t>Graphics can go here – </a:t>
            </a:r>
            <a:br>
              <a:rPr lang="en-US" dirty="0"/>
            </a:br>
            <a:r>
              <a:rPr lang="en-US" dirty="0"/>
              <a:t>replace this box with your image or chart</a:t>
            </a:r>
          </a:p>
        </p:txBody>
      </p:sp>
      <p:pic>
        <p:nvPicPr>
          <p:cNvPr id="16" name="Picture 1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82720" y="6649643"/>
            <a:ext cx="3612444" cy="2450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2068766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hite_Title Slide 1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black and white photo of a building&#10;&#10;Description automatically generated">
            <a:extLst>
              <a:ext uri="{FF2B5EF4-FFF2-40B4-BE49-F238E27FC236}">
                <a16:creationId xmlns:a16="http://schemas.microsoft.com/office/drawing/2014/main" id="{91403BB8-FE22-414F-A7DC-5173D93AB0F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5743"/>
          <a:stretch/>
        </p:blipFill>
        <p:spPr>
          <a:xfrm>
            <a:off x="0" y="0"/>
            <a:ext cx="13022990" cy="73152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97842081-A822-4595-A3C9-CE9A74968A55}"/>
              </a:ext>
            </a:extLst>
          </p:cNvPr>
          <p:cNvSpPr/>
          <p:nvPr userDrawn="1"/>
        </p:nvSpPr>
        <p:spPr>
          <a:xfrm>
            <a:off x="2" y="0"/>
            <a:ext cx="13041180" cy="7315200"/>
          </a:xfrm>
          <a:prstGeom prst="rect">
            <a:avLst/>
          </a:prstGeom>
          <a:solidFill>
            <a:schemeClr val="bg2">
              <a:alpha val="76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56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B6A24A3-2469-4535-BF17-D9151C7F0BA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07937" y="4873175"/>
            <a:ext cx="2275840" cy="198684"/>
          </a:xfrm>
          <a:prstGeom prst="rect">
            <a:avLst/>
          </a:prstGeom>
        </p:spPr>
      </p:pic>
      <p:pic>
        <p:nvPicPr>
          <p:cNvPr id="12" name="Picture 11" descr="A screenshot of a cell phone&#10;&#10;Description automatically generated">
            <a:extLst>
              <a:ext uri="{FF2B5EF4-FFF2-40B4-BE49-F238E27FC236}">
                <a16:creationId xmlns:a16="http://schemas.microsoft.com/office/drawing/2014/main" id="{5D54573B-D5B6-4023-A486-E86DF7872F5A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389525" y="6249614"/>
            <a:ext cx="2993847" cy="727229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A7C40198-6921-470E-8BB0-E8DA1FC2A5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4755" y="917326"/>
            <a:ext cx="9989035" cy="3757164"/>
          </a:xfrm>
          <a:prstGeom prst="rect">
            <a:avLst/>
          </a:prstGeom>
        </p:spPr>
        <p:txBody>
          <a:bodyPr anchor="b"/>
          <a:lstStyle>
            <a:lvl1pPr algn="l">
              <a:defRPr sz="5333" b="1" i="0" cap="all" baseline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UWFT PPT TEMPLATE</a:t>
            </a:r>
          </a:p>
        </p:txBody>
      </p:sp>
    </p:spTree>
    <p:extLst>
      <p:ext uri="{BB962C8B-B14F-4D97-AF65-F5344CB8AC3E}">
        <p14:creationId xmlns:p14="http://schemas.microsoft.com/office/powerpoint/2010/main" val="7837825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hite_Content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FF5D961D-A110-46E3-9A8E-CD8C6D050B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0846" y="1235056"/>
            <a:ext cx="1569822" cy="137048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D31FDD31-55CC-498E-B380-86658AA9A7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9336" y="596897"/>
            <a:ext cx="11658118" cy="706685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pic>
        <p:nvPicPr>
          <p:cNvPr id="13" name="Picture 12" descr="A screenshot of a cell phone&#10;&#10;Description automatically generated">
            <a:extLst>
              <a:ext uri="{FF2B5EF4-FFF2-40B4-BE49-F238E27FC236}">
                <a16:creationId xmlns:a16="http://schemas.microsoft.com/office/drawing/2014/main" id="{C79536C7-D87B-41F2-87B1-CA35D625272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990816" y="6738111"/>
            <a:ext cx="2017759" cy="262366"/>
          </a:xfrm>
          <a:prstGeom prst="rect">
            <a:avLst/>
          </a:prstGeom>
        </p:spPr>
      </p:pic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3D6390A-DAED-4A47-B7D5-0C5D43422C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7049" y="1773196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2560" b="0" i="0" cap="all" baseline="0">
                <a:solidFill>
                  <a:schemeClr val="tx2"/>
                </a:solidFill>
                <a:latin typeface="Uni Sans Regular" charset="0"/>
                <a:ea typeface="Uni Sans Regular" charset="0"/>
                <a:cs typeface="Uni Sans Regular" charset="0"/>
              </a:defRPr>
            </a:lvl1pPr>
            <a:lvl2pPr marL="48765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298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2945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593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id="{0F563B1E-89A1-4FA3-9240-3D03D6F93CE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" y="6924611"/>
            <a:ext cx="821831" cy="390595"/>
          </a:xfrm>
          <a:prstGeom prst="rect">
            <a:avLst/>
          </a:prstGeom>
        </p:spPr>
        <p:txBody>
          <a:bodyPr/>
          <a:lstStyle>
            <a:lvl1pPr>
              <a:defRPr sz="1280">
                <a:solidFill>
                  <a:schemeClr val="tx2"/>
                </a:solidFill>
              </a:defRPr>
            </a:lvl1pPr>
          </a:lstStyle>
          <a:p>
            <a:fld id="{5FC2A098-C205-46C9-9A6D-EB2B2028999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B8E40DE9-6EB0-4F70-9A67-CE64F165993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336" y="2597311"/>
            <a:ext cx="11658118" cy="3202505"/>
          </a:xfrm>
          <a:prstGeom prst="rect">
            <a:avLst/>
          </a:prstGeom>
        </p:spPr>
        <p:txBody>
          <a:bodyPr/>
          <a:lstStyle>
            <a:lvl1pPr marL="365736" indent="-365736">
              <a:buFont typeface="Lucida Grande"/>
              <a:buChar char="&gt;"/>
              <a:defRPr sz="2560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133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219120" indent="-243825">
              <a:buSzPct val="100000"/>
              <a:buFont typeface="Lucida Grande"/>
              <a:buChar char="&gt;"/>
              <a:defRPr sz="192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1707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194416" indent="-243825">
              <a:buFont typeface="Lucida Grande"/>
              <a:buChar char="&gt;"/>
              <a:defRPr sz="1493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>
              <a:defRPr baseline="0">
                <a:solidFill>
                  <a:schemeClr val="tx2"/>
                </a:solidFill>
              </a:defRPr>
            </a:lvl6pPr>
            <a:lvl7pPr>
              <a:defRPr baseline="0">
                <a:solidFill>
                  <a:schemeClr val="tx2"/>
                </a:solidFill>
              </a:defRPr>
            </a:lvl7pPr>
            <a:lvl9pPr>
              <a:defRPr/>
            </a:lvl9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, 20)</a:t>
            </a:r>
          </a:p>
          <a:p>
            <a:pPr lvl="2"/>
            <a:r>
              <a:rPr lang="en-US"/>
              <a:t>Third level (Open Sans, 18)</a:t>
            </a:r>
          </a:p>
          <a:p>
            <a:pPr lvl="3"/>
            <a:r>
              <a:rPr lang="en-US"/>
              <a:t>Fourth level (Open Sans, 16)</a:t>
            </a:r>
          </a:p>
          <a:p>
            <a:pPr lvl="4"/>
            <a:r>
              <a:rPr lang="en-US"/>
              <a:t>Fifth level (Open Sans, 14)</a:t>
            </a:r>
          </a:p>
        </p:txBody>
      </p:sp>
      <p:pic>
        <p:nvPicPr>
          <p:cNvPr id="8" name="Picture 7" descr="A close up of a logo&#10;&#10;Description automatically generated">
            <a:extLst>
              <a:ext uri="{FF2B5EF4-FFF2-40B4-BE49-F238E27FC236}">
                <a16:creationId xmlns:a16="http://schemas.microsoft.com/office/drawing/2014/main" id="{8BBE3CB1-85B5-4757-B841-BEA01AD58912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959853" y="6738123"/>
            <a:ext cx="2335316" cy="303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233272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+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54756" y="462085"/>
            <a:ext cx="11640409" cy="517466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sp>
        <p:nvSpPr>
          <p:cNvPr id="10" name="Chart Placeholder 11"/>
          <p:cNvSpPr>
            <a:spLocks noGrp="1"/>
          </p:cNvSpPr>
          <p:nvPr>
            <p:ph type="chart" sz="quarter" idx="12" hasCustomPrompt="1"/>
          </p:nvPr>
        </p:nvSpPr>
        <p:spPr>
          <a:xfrm>
            <a:off x="637047" y="1939213"/>
            <a:ext cx="11640409" cy="47255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3413" b="0" i="1" baseline="0">
                <a:solidFill>
                  <a:schemeClr val="tx1"/>
                </a:solidFill>
                <a:latin typeface="Open Sans Light"/>
                <a:cs typeface="Open Sans Light"/>
              </a:defRPr>
            </a:lvl1pPr>
          </a:lstStyle>
          <a:p>
            <a:r>
              <a:rPr lang="en-US" dirty="0"/>
              <a:t>Graphics can go here – </a:t>
            </a:r>
            <a:br>
              <a:rPr lang="en-US" dirty="0"/>
            </a:br>
            <a:r>
              <a:rPr lang="en-US" dirty="0"/>
              <a:t>replace this box with your image or chart</a:t>
            </a:r>
          </a:p>
        </p:txBody>
      </p:sp>
      <p:pic>
        <p:nvPicPr>
          <p:cNvPr id="7" name="Picture 6" descr="A close up of a logo&#10;&#10;Description automatically generated">
            <a:extLst>
              <a:ext uri="{FF2B5EF4-FFF2-40B4-BE49-F238E27FC236}">
                <a16:creationId xmlns:a16="http://schemas.microsoft.com/office/drawing/2014/main" id="{DA858859-3BAA-4B61-A436-5267CD5980A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59849" y="6738118"/>
            <a:ext cx="2335316" cy="303658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926DC03-5128-4F80-81CD-8AA579A24B5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54755" y="1083063"/>
            <a:ext cx="1569822" cy="1370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7298973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White_Content Slide 3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FF5D961D-A110-46E3-9A8E-CD8C6D050B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0846" y="1235056"/>
            <a:ext cx="1569822" cy="137048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D31FDD31-55CC-498E-B380-86658AA9A7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9336" y="596897"/>
            <a:ext cx="11658118" cy="706685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pic>
        <p:nvPicPr>
          <p:cNvPr id="13" name="Picture 12" descr="A screenshot of a cell phone&#10;&#10;Description automatically generated">
            <a:extLst>
              <a:ext uri="{FF2B5EF4-FFF2-40B4-BE49-F238E27FC236}">
                <a16:creationId xmlns:a16="http://schemas.microsoft.com/office/drawing/2014/main" id="{C79536C7-D87B-41F2-87B1-CA35D625272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990816" y="6738111"/>
            <a:ext cx="2017759" cy="262366"/>
          </a:xfrm>
          <a:prstGeom prst="rect">
            <a:avLst/>
          </a:prstGeom>
        </p:spPr>
      </p:pic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3D6390A-DAED-4A47-B7D5-0C5D43422C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7049" y="1773196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2560" b="0" i="0" cap="all" baseline="0">
                <a:solidFill>
                  <a:schemeClr val="tx2"/>
                </a:solidFill>
                <a:latin typeface="Uni Sans Regular" charset="0"/>
                <a:ea typeface="Uni Sans Regular" charset="0"/>
                <a:cs typeface="Uni Sans Regular" charset="0"/>
              </a:defRPr>
            </a:lvl1pPr>
            <a:lvl2pPr marL="48765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298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2945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593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id="{0F563B1E-89A1-4FA3-9240-3D03D6F93CE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" y="6924611"/>
            <a:ext cx="821831" cy="390595"/>
          </a:xfrm>
          <a:prstGeom prst="rect">
            <a:avLst/>
          </a:prstGeom>
        </p:spPr>
        <p:txBody>
          <a:bodyPr/>
          <a:lstStyle>
            <a:lvl1pPr>
              <a:defRPr sz="1280">
                <a:solidFill>
                  <a:schemeClr val="tx2"/>
                </a:solidFill>
              </a:defRPr>
            </a:lvl1pPr>
          </a:lstStyle>
          <a:p>
            <a:fld id="{5FC2A098-C205-46C9-9A6D-EB2B2028999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B8E40DE9-6EB0-4F70-9A67-CE64F165993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336" y="2597311"/>
            <a:ext cx="11658118" cy="3202505"/>
          </a:xfrm>
          <a:prstGeom prst="rect">
            <a:avLst/>
          </a:prstGeom>
        </p:spPr>
        <p:txBody>
          <a:bodyPr/>
          <a:lstStyle>
            <a:lvl1pPr marL="365736" indent="-365736">
              <a:buFont typeface="Lucida Grande"/>
              <a:buChar char="&gt;"/>
              <a:defRPr sz="2560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133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219120" indent="-243825">
              <a:buSzPct val="100000"/>
              <a:buFont typeface="Lucida Grande"/>
              <a:buChar char="&gt;"/>
              <a:defRPr sz="192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1707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194416" indent="-243825">
              <a:buFont typeface="Lucida Grande"/>
              <a:buChar char="&gt;"/>
              <a:defRPr sz="1493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>
              <a:defRPr baseline="0">
                <a:solidFill>
                  <a:schemeClr val="tx2"/>
                </a:solidFill>
              </a:defRPr>
            </a:lvl6pPr>
            <a:lvl7pPr>
              <a:defRPr baseline="0">
                <a:solidFill>
                  <a:schemeClr val="tx2"/>
                </a:solidFill>
              </a:defRPr>
            </a:lvl7pPr>
            <a:lvl9pPr>
              <a:defRPr/>
            </a:lvl9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, 20)</a:t>
            </a:r>
          </a:p>
          <a:p>
            <a:pPr lvl="2"/>
            <a:r>
              <a:rPr lang="en-US"/>
              <a:t>Third level (Open Sans, 18)</a:t>
            </a:r>
          </a:p>
          <a:p>
            <a:pPr lvl="3"/>
            <a:r>
              <a:rPr lang="en-US"/>
              <a:t>Fourth level (Open Sans, 16)</a:t>
            </a:r>
          </a:p>
          <a:p>
            <a:pPr lvl="4"/>
            <a:r>
              <a:rPr lang="en-US"/>
              <a:t>Fifth level (Open Sans, 14)</a:t>
            </a:r>
          </a:p>
        </p:txBody>
      </p:sp>
    </p:spTree>
    <p:extLst>
      <p:ext uri="{BB962C8B-B14F-4D97-AF65-F5344CB8AC3E}">
        <p14:creationId xmlns:p14="http://schemas.microsoft.com/office/powerpoint/2010/main" val="1413194644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White_Content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FF5D961D-A110-46E3-9A8E-CD8C6D050B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0846" y="1235056"/>
            <a:ext cx="1569822" cy="137048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D31FDD31-55CC-498E-B380-86658AA9A7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9336" y="596895"/>
            <a:ext cx="11658118" cy="706685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pic>
        <p:nvPicPr>
          <p:cNvPr id="13" name="Picture 12" descr="A screenshot of a cell phone&#10;&#10;Description automatically generated">
            <a:extLst>
              <a:ext uri="{FF2B5EF4-FFF2-40B4-BE49-F238E27FC236}">
                <a16:creationId xmlns:a16="http://schemas.microsoft.com/office/drawing/2014/main" id="{C79536C7-D87B-41F2-87B1-CA35D625272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990815" y="6738111"/>
            <a:ext cx="2017759" cy="262366"/>
          </a:xfrm>
          <a:prstGeom prst="rect">
            <a:avLst/>
          </a:prstGeom>
        </p:spPr>
      </p:pic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3D6390A-DAED-4A47-B7D5-0C5D43422C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7049" y="1773194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2560" b="0" i="0" cap="all" baseline="0">
                <a:solidFill>
                  <a:schemeClr val="tx2"/>
                </a:solidFill>
                <a:latin typeface="Uni Sans Regular" charset="0"/>
                <a:ea typeface="Uni Sans Regular" charset="0"/>
                <a:cs typeface="Uni Sans Regular" charset="0"/>
              </a:defRPr>
            </a:lvl1pPr>
            <a:lvl2pPr marL="487661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32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298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641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id="{0F563B1E-89A1-4FA3-9240-3D03D6F93CE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" y="6924610"/>
            <a:ext cx="821831" cy="390595"/>
          </a:xfrm>
          <a:prstGeom prst="rect">
            <a:avLst/>
          </a:prstGeom>
        </p:spPr>
        <p:txBody>
          <a:bodyPr/>
          <a:lstStyle>
            <a:lvl1pPr>
              <a:defRPr sz="1280">
                <a:solidFill>
                  <a:schemeClr val="tx2"/>
                </a:solidFill>
              </a:defRPr>
            </a:lvl1pPr>
          </a:lstStyle>
          <a:p>
            <a:fld id="{5FC2A098-C205-46C9-9A6D-EB2B2028999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B8E40DE9-6EB0-4F70-9A67-CE64F165993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336" y="2597311"/>
            <a:ext cx="11658118" cy="3202505"/>
          </a:xfrm>
          <a:prstGeom prst="rect">
            <a:avLst/>
          </a:prstGeom>
        </p:spPr>
        <p:txBody>
          <a:bodyPr/>
          <a:lstStyle>
            <a:lvl1pPr marL="365746" indent="-365746">
              <a:buFont typeface="Lucida Grande"/>
              <a:buChar char="&gt;"/>
              <a:defRPr sz="2560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133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219151" indent="-243831">
              <a:buSzPct val="100000"/>
              <a:buFont typeface="Lucida Grande"/>
              <a:buChar char="&gt;"/>
              <a:defRPr sz="192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1707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194470" indent="-243831">
              <a:buFont typeface="Lucida Grande"/>
              <a:buChar char="&gt;"/>
              <a:defRPr sz="1493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>
              <a:defRPr baseline="0">
                <a:solidFill>
                  <a:schemeClr val="tx2"/>
                </a:solidFill>
              </a:defRPr>
            </a:lvl6pPr>
            <a:lvl7pPr>
              <a:defRPr baseline="0">
                <a:solidFill>
                  <a:schemeClr val="tx2"/>
                </a:solidFill>
              </a:defRPr>
            </a:lvl7pPr>
            <a:lvl9pPr>
              <a:defRPr/>
            </a:lvl9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, 20)</a:t>
            </a:r>
          </a:p>
          <a:p>
            <a:pPr lvl="2"/>
            <a:r>
              <a:rPr lang="en-US"/>
              <a:t>Third level (Open Sans, 18)</a:t>
            </a:r>
          </a:p>
          <a:p>
            <a:pPr lvl="3"/>
            <a:r>
              <a:rPr lang="en-US"/>
              <a:t>Fourth level (Open Sans, 16)</a:t>
            </a:r>
          </a:p>
          <a:p>
            <a:pPr lvl="4"/>
            <a:r>
              <a:rPr lang="en-US"/>
              <a:t>Fifth level (Open Sans, 14)</a:t>
            </a:r>
          </a:p>
        </p:txBody>
      </p:sp>
      <p:pic>
        <p:nvPicPr>
          <p:cNvPr id="8" name="Picture 7" descr="A close up of a logo&#10;&#10;Description automatically generated">
            <a:extLst>
              <a:ext uri="{FF2B5EF4-FFF2-40B4-BE49-F238E27FC236}">
                <a16:creationId xmlns:a16="http://schemas.microsoft.com/office/drawing/2014/main" id="{8BBE3CB1-85B5-4757-B841-BEA01AD58912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959851" y="6738121"/>
            <a:ext cx="2335316" cy="303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0228651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White_Content Slide 3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FF5D961D-A110-46E3-9A8E-CD8C6D050B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0846" y="1235056"/>
            <a:ext cx="1569822" cy="137048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D31FDD31-55CC-498E-B380-86658AA9A7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9336" y="596895"/>
            <a:ext cx="11658118" cy="706685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pic>
        <p:nvPicPr>
          <p:cNvPr id="13" name="Picture 12" descr="A screenshot of a cell phone&#10;&#10;Description automatically generated">
            <a:extLst>
              <a:ext uri="{FF2B5EF4-FFF2-40B4-BE49-F238E27FC236}">
                <a16:creationId xmlns:a16="http://schemas.microsoft.com/office/drawing/2014/main" id="{C79536C7-D87B-41F2-87B1-CA35D625272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990815" y="6738111"/>
            <a:ext cx="2017759" cy="262366"/>
          </a:xfrm>
          <a:prstGeom prst="rect">
            <a:avLst/>
          </a:prstGeom>
        </p:spPr>
      </p:pic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3D6390A-DAED-4A47-B7D5-0C5D43422C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7049" y="1773194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2560" b="0" i="0" cap="all" baseline="0">
                <a:solidFill>
                  <a:schemeClr val="tx2"/>
                </a:solidFill>
                <a:latin typeface="Uni Sans Regular" charset="0"/>
                <a:ea typeface="Uni Sans Regular" charset="0"/>
                <a:cs typeface="Uni Sans Regular" charset="0"/>
              </a:defRPr>
            </a:lvl1pPr>
            <a:lvl2pPr marL="487661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32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298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641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id="{0F563B1E-89A1-4FA3-9240-3D03D6F93CE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" y="6924610"/>
            <a:ext cx="821831" cy="390595"/>
          </a:xfrm>
          <a:prstGeom prst="rect">
            <a:avLst/>
          </a:prstGeom>
        </p:spPr>
        <p:txBody>
          <a:bodyPr/>
          <a:lstStyle>
            <a:lvl1pPr>
              <a:defRPr sz="1280">
                <a:solidFill>
                  <a:schemeClr val="tx2"/>
                </a:solidFill>
              </a:defRPr>
            </a:lvl1pPr>
          </a:lstStyle>
          <a:p>
            <a:fld id="{5FC2A098-C205-46C9-9A6D-EB2B2028999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B8E40DE9-6EB0-4F70-9A67-CE64F165993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336" y="2597311"/>
            <a:ext cx="11658118" cy="3202505"/>
          </a:xfrm>
          <a:prstGeom prst="rect">
            <a:avLst/>
          </a:prstGeom>
        </p:spPr>
        <p:txBody>
          <a:bodyPr/>
          <a:lstStyle>
            <a:lvl1pPr marL="365746" indent="-365746">
              <a:buFont typeface="Lucida Grande"/>
              <a:buChar char="&gt;"/>
              <a:defRPr sz="2560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133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219151" indent="-243831">
              <a:buSzPct val="100000"/>
              <a:buFont typeface="Lucida Grande"/>
              <a:buChar char="&gt;"/>
              <a:defRPr sz="192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1707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194470" indent="-243831">
              <a:buFont typeface="Lucida Grande"/>
              <a:buChar char="&gt;"/>
              <a:defRPr sz="1493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>
              <a:defRPr baseline="0">
                <a:solidFill>
                  <a:schemeClr val="tx2"/>
                </a:solidFill>
              </a:defRPr>
            </a:lvl6pPr>
            <a:lvl7pPr>
              <a:defRPr baseline="0">
                <a:solidFill>
                  <a:schemeClr val="tx2"/>
                </a:solidFill>
              </a:defRPr>
            </a:lvl7pPr>
            <a:lvl9pPr>
              <a:defRPr/>
            </a:lvl9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, 20)</a:t>
            </a:r>
          </a:p>
          <a:p>
            <a:pPr lvl="2"/>
            <a:r>
              <a:rPr lang="en-US"/>
              <a:t>Third level (Open Sans, 18)</a:t>
            </a:r>
          </a:p>
          <a:p>
            <a:pPr lvl="3"/>
            <a:r>
              <a:rPr lang="en-US"/>
              <a:t>Fourth level (Open Sans, 16)</a:t>
            </a:r>
          </a:p>
          <a:p>
            <a:pPr lvl="4"/>
            <a:r>
              <a:rPr lang="en-US"/>
              <a:t>Fifth level (Open Sans, 14)</a:t>
            </a:r>
          </a:p>
        </p:txBody>
      </p:sp>
    </p:spTree>
    <p:extLst>
      <p:ext uri="{BB962C8B-B14F-4D97-AF65-F5344CB8AC3E}">
        <p14:creationId xmlns:p14="http://schemas.microsoft.com/office/powerpoint/2010/main" val="3366414503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White_Title Slide 1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black and white photo of a building&#10;&#10;Description automatically generated">
            <a:extLst>
              <a:ext uri="{FF2B5EF4-FFF2-40B4-BE49-F238E27FC236}">
                <a16:creationId xmlns:a16="http://schemas.microsoft.com/office/drawing/2014/main" id="{91403BB8-FE22-414F-A7DC-5173D93AB0F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5743"/>
          <a:stretch/>
        </p:blipFill>
        <p:spPr>
          <a:xfrm>
            <a:off x="0" y="0"/>
            <a:ext cx="13022990" cy="73152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97842081-A822-4595-A3C9-CE9A74968A55}"/>
              </a:ext>
            </a:extLst>
          </p:cNvPr>
          <p:cNvSpPr/>
          <p:nvPr userDrawn="1"/>
        </p:nvSpPr>
        <p:spPr>
          <a:xfrm>
            <a:off x="2" y="0"/>
            <a:ext cx="13041180" cy="7315200"/>
          </a:xfrm>
          <a:prstGeom prst="rect">
            <a:avLst/>
          </a:prstGeom>
          <a:solidFill>
            <a:schemeClr val="bg2">
              <a:alpha val="76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73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B6A24A3-2469-4535-BF17-D9151C7F0BA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07937" y="4873172"/>
            <a:ext cx="2275840" cy="198684"/>
          </a:xfrm>
          <a:prstGeom prst="rect">
            <a:avLst/>
          </a:prstGeom>
        </p:spPr>
      </p:pic>
      <p:pic>
        <p:nvPicPr>
          <p:cNvPr id="12" name="Picture 11" descr="A screenshot of a cell phone&#10;&#10;Description automatically generated">
            <a:extLst>
              <a:ext uri="{FF2B5EF4-FFF2-40B4-BE49-F238E27FC236}">
                <a16:creationId xmlns:a16="http://schemas.microsoft.com/office/drawing/2014/main" id="{5D54573B-D5B6-4023-A486-E86DF7872F5A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389525" y="6249614"/>
            <a:ext cx="2993847" cy="727229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A7C40198-6921-470E-8BB0-E8DA1FC2A5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4755" y="917325"/>
            <a:ext cx="9989035" cy="3757164"/>
          </a:xfrm>
          <a:prstGeom prst="rect">
            <a:avLst/>
          </a:prstGeom>
        </p:spPr>
        <p:txBody>
          <a:bodyPr anchor="b"/>
          <a:lstStyle>
            <a:lvl1pPr algn="l">
              <a:defRPr sz="5333" b="1" i="0" cap="all" baseline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UWFT PPT TEMPLATE</a:t>
            </a:r>
          </a:p>
        </p:txBody>
      </p:sp>
    </p:spTree>
    <p:extLst>
      <p:ext uri="{BB962C8B-B14F-4D97-AF65-F5344CB8AC3E}">
        <p14:creationId xmlns:p14="http://schemas.microsoft.com/office/powerpoint/2010/main" val="10441908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hite_Content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black and white photo of a building&#10;&#10;Description automatically generated">
            <a:extLst>
              <a:ext uri="{FF2B5EF4-FFF2-40B4-BE49-F238E27FC236}">
                <a16:creationId xmlns:a16="http://schemas.microsoft.com/office/drawing/2014/main" id="{8401AF7D-5279-41C7-BF89-45A1E46B01C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5743"/>
          <a:stretch/>
        </p:blipFill>
        <p:spPr>
          <a:xfrm>
            <a:off x="0" y="0"/>
            <a:ext cx="13022990" cy="7315200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9A368F04-4CDB-40B3-9081-CC1794EAA545}"/>
              </a:ext>
            </a:extLst>
          </p:cNvPr>
          <p:cNvSpPr/>
          <p:nvPr userDrawn="1"/>
        </p:nvSpPr>
        <p:spPr>
          <a:xfrm>
            <a:off x="2" y="0"/>
            <a:ext cx="13041180" cy="7315200"/>
          </a:xfrm>
          <a:prstGeom prst="rect">
            <a:avLst/>
          </a:prstGeom>
          <a:solidFill>
            <a:schemeClr val="bg2">
              <a:alpha val="76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73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F5D961D-A110-46E3-9A8E-CD8C6D050B4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80846" y="1235056"/>
            <a:ext cx="1569822" cy="137048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D31FDD31-55CC-498E-B380-86658AA9A7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9339" y="596898"/>
            <a:ext cx="11658119" cy="706685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pic>
        <p:nvPicPr>
          <p:cNvPr id="13" name="Picture 12" descr="A screenshot of a cell phone&#10;&#10;Description automatically generated">
            <a:extLst>
              <a:ext uri="{FF2B5EF4-FFF2-40B4-BE49-F238E27FC236}">
                <a16:creationId xmlns:a16="http://schemas.microsoft.com/office/drawing/2014/main" id="{C79536C7-D87B-41F2-87B1-CA35D6252720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990818" y="6738111"/>
            <a:ext cx="2017759" cy="262366"/>
          </a:xfrm>
          <a:prstGeom prst="rect">
            <a:avLst/>
          </a:prstGeom>
        </p:spPr>
      </p:pic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3D6390A-DAED-4A47-B7D5-0C5D43422C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7049" y="1773196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2560" b="0" i="0" cap="all" baseline="0">
                <a:solidFill>
                  <a:schemeClr val="tx2"/>
                </a:solidFill>
                <a:latin typeface="Uni Sans Regular" charset="0"/>
                <a:ea typeface="Uni Sans Regular" charset="0"/>
                <a:cs typeface="Uni Sans Regular" charset="0"/>
              </a:defRPr>
            </a:lvl1pPr>
            <a:lvl2pPr marL="487654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306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2957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611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id="{0F563B1E-89A1-4FA3-9240-3D03D6F93CE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" y="6924611"/>
            <a:ext cx="821831" cy="390595"/>
          </a:xfrm>
          <a:prstGeom prst="rect">
            <a:avLst/>
          </a:prstGeom>
        </p:spPr>
        <p:txBody>
          <a:bodyPr/>
          <a:lstStyle>
            <a:lvl1pPr>
              <a:defRPr sz="1280">
                <a:solidFill>
                  <a:schemeClr val="tx2"/>
                </a:solidFill>
              </a:defRPr>
            </a:lvl1pPr>
          </a:lstStyle>
          <a:p>
            <a:fld id="{5FC2A098-C205-46C9-9A6D-EB2B2028999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B8E40DE9-6EB0-4F70-9A67-CE64F165993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339" y="2597314"/>
            <a:ext cx="11658119" cy="3202505"/>
          </a:xfrm>
          <a:prstGeom prst="rect">
            <a:avLst/>
          </a:prstGeom>
        </p:spPr>
        <p:txBody>
          <a:bodyPr/>
          <a:lstStyle>
            <a:lvl1pPr marL="365740" indent="-365740">
              <a:buFont typeface="Lucida Grande"/>
              <a:buChar char="&gt;"/>
              <a:defRPr sz="2560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133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219133" indent="-243826">
              <a:buSzPct val="100000"/>
              <a:buFont typeface="Lucida Grande"/>
              <a:buChar char="&gt;"/>
              <a:defRPr sz="192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1708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194438" indent="-243826">
              <a:buFont typeface="Lucida Grande"/>
              <a:buChar char="&gt;"/>
              <a:defRPr sz="1493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>
              <a:defRPr baseline="0">
                <a:solidFill>
                  <a:schemeClr val="tx2"/>
                </a:solidFill>
              </a:defRPr>
            </a:lvl6pPr>
            <a:lvl7pPr>
              <a:defRPr baseline="0">
                <a:solidFill>
                  <a:schemeClr val="tx2"/>
                </a:solidFill>
              </a:defRPr>
            </a:lvl7pPr>
            <a:lvl9pPr>
              <a:defRPr/>
            </a:lvl9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, 20)</a:t>
            </a:r>
          </a:p>
          <a:p>
            <a:pPr lvl="2"/>
            <a:r>
              <a:rPr lang="en-US"/>
              <a:t>Third level (Open Sans, 18)</a:t>
            </a:r>
          </a:p>
          <a:p>
            <a:pPr lvl="3"/>
            <a:r>
              <a:rPr lang="en-US"/>
              <a:t>Fourth level (Open Sans, 16)</a:t>
            </a:r>
          </a:p>
          <a:p>
            <a:pPr lvl="4"/>
            <a:r>
              <a:rPr lang="en-US"/>
              <a:t>Fifth level (Open Sans, 14)</a:t>
            </a:r>
          </a:p>
        </p:txBody>
      </p:sp>
      <p:pic>
        <p:nvPicPr>
          <p:cNvPr id="8" name="Picture 7" descr="A close up of a logo&#10;&#10;Description automatically generated">
            <a:extLst>
              <a:ext uri="{FF2B5EF4-FFF2-40B4-BE49-F238E27FC236}">
                <a16:creationId xmlns:a16="http://schemas.microsoft.com/office/drawing/2014/main" id="{8BBE3CB1-85B5-4757-B841-BEA01AD58912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959851" y="6738120"/>
            <a:ext cx="2335316" cy="303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53263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White_Content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FF5D961D-A110-46E3-9A8E-CD8C6D050B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0846" y="1235056"/>
            <a:ext cx="1569822" cy="137048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D31FDD31-55CC-498E-B380-86658AA9A7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9339" y="596898"/>
            <a:ext cx="11658119" cy="706685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pic>
        <p:nvPicPr>
          <p:cNvPr id="13" name="Picture 12" descr="A screenshot of a cell phone&#10;&#10;Description automatically generated">
            <a:extLst>
              <a:ext uri="{FF2B5EF4-FFF2-40B4-BE49-F238E27FC236}">
                <a16:creationId xmlns:a16="http://schemas.microsoft.com/office/drawing/2014/main" id="{C79536C7-D87B-41F2-87B1-CA35D625272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990818" y="6738111"/>
            <a:ext cx="2017759" cy="262366"/>
          </a:xfrm>
          <a:prstGeom prst="rect">
            <a:avLst/>
          </a:prstGeom>
        </p:spPr>
      </p:pic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3D6390A-DAED-4A47-B7D5-0C5D43422C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7049" y="1773196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2560" b="0" i="0" cap="all" baseline="0">
                <a:solidFill>
                  <a:schemeClr val="tx2"/>
                </a:solidFill>
                <a:latin typeface="Uni Sans Regular" charset="0"/>
                <a:ea typeface="Uni Sans Regular" charset="0"/>
                <a:cs typeface="Uni Sans Regular" charset="0"/>
              </a:defRPr>
            </a:lvl1pPr>
            <a:lvl2pPr marL="487654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306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2957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611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id="{0F563B1E-89A1-4FA3-9240-3D03D6F93CE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" y="6924611"/>
            <a:ext cx="821831" cy="390595"/>
          </a:xfrm>
          <a:prstGeom prst="rect">
            <a:avLst/>
          </a:prstGeom>
        </p:spPr>
        <p:txBody>
          <a:bodyPr/>
          <a:lstStyle>
            <a:lvl1pPr>
              <a:defRPr sz="1280">
                <a:solidFill>
                  <a:schemeClr val="tx2"/>
                </a:solidFill>
              </a:defRPr>
            </a:lvl1pPr>
          </a:lstStyle>
          <a:p>
            <a:fld id="{5FC2A098-C205-46C9-9A6D-EB2B2028999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B8E40DE9-6EB0-4F70-9A67-CE64F165993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339" y="2597314"/>
            <a:ext cx="11658119" cy="3202505"/>
          </a:xfrm>
          <a:prstGeom prst="rect">
            <a:avLst/>
          </a:prstGeom>
        </p:spPr>
        <p:txBody>
          <a:bodyPr/>
          <a:lstStyle>
            <a:lvl1pPr marL="365740" indent="-365740">
              <a:buFont typeface="Lucida Grande"/>
              <a:buChar char="&gt;"/>
              <a:defRPr sz="2560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133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219133" indent="-243826">
              <a:buSzPct val="100000"/>
              <a:buFont typeface="Lucida Grande"/>
              <a:buChar char="&gt;"/>
              <a:defRPr sz="192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1708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194438" indent="-243826">
              <a:buFont typeface="Lucida Grande"/>
              <a:buChar char="&gt;"/>
              <a:defRPr sz="1493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>
              <a:defRPr baseline="0">
                <a:solidFill>
                  <a:schemeClr val="tx2"/>
                </a:solidFill>
              </a:defRPr>
            </a:lvl6pPr>
            <a:lvl7pPr>
              <a:defRPr baseline="0">
                <a:solidFill>
                  <a:schemeClr val="tx2"/>
                </a:solidFill>
              </a:defRPr>
            </a:lvl7pPr>
            <a:lvl9pPr>
              <a:defRPr/>
            </a:lvl9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, 20)</a:t>
            </a:r>
          </a:p>
          <a:p>
            <a:pPr lvl="2"/>
            <a:r>
              <a:rPr lang="en-US"/>
              <a:t>Third level (Open Sans, 18)</a:t>
            </a:r>
          </a:p>
          <a:p>
            <a:pPr lvl="3"/>
            <a:r>
              <a:rPr lang="en-US"/>
              <a:t>Fourth level (Open Sans, 16)</a:t>
            </a:r>
          </a:p>
          <a:p>
            <a:pPr lvl="4"/>
            <a:r>
              <a:rPr lang="en-US"/>
              <a:t>Fifth level (Open Sans, 14)</a:t>
            </a:r>
          </a:p>
        </p:txBody>
      </p:sp>
      <p:pic>
        <p:nvPicPr>
          <p:cNvPr id="8" name="Picture 7" descr="A close up of a logo&#10;&#10;Description automatically generated">
            <a:extLst>
              <a:ext uri="{FF2B5EF4-FFF2-40B4-BE49-F238E27FC236}">
                <a16:creationId xmlns:a16="http://schemas.microsoft.com/office/drawing/2014/main" id="{8BBE3CB1-85B5-4757-B841-BEA01AD58912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959851" y="6738120"/>
            <a:ext cx="2335316" cy="303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0301320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White_Content Slide 3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FF5D961D-A110-46E3-9A8E-CD8C6D050B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0846" y="1235056"/>
            <a:ext cx="1569822" cy="137048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D31FDD31-55CC-498E-B380-86658AA9A7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9339" y="596898"/>
            <a:ext cx="11658119" cy="706685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pic>
        <p:nvPicPr>
          <p:cNvPr id="13" name="Picture 12" descr="A screenshot of a cell phone&#10;&#10;Description automatically generated">
            <a:extLst>
              <a:ext uri="{FF2B5EF4-FFF2-40B4-BE49-F238E27FC236}">
                <a16:creationId xmlns:a16="http://schemas.microsoft.com/office/drawing/2014/main" id="{C79536C7-D87B-41F2-87B1-CA35D625272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990818" y="6738111"/>
            <a:ext cx="2017759" cy="262366"/>
          </a:xfrm>
          <a:prstGeom prst="rect">
            <a:avLst/>
          </a:prstGeom>
        </p:spPr>
      </p:pic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3D6390A-DAED-4A47-B7D5-0C5D43422C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7049" y="1773196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2560" b="0" i="0" cap="all" baseline="0">
                <a:solidFill>
                  <a:schemeClr val="tx2"/>
                </a:solidFill>
                <a:latin typeface="Uni Sans Regular" charset="0"/>
                <a:ea typeface="Uni Sans Regular" charset="0"/>
                <a:cs typeface="Uni Sans Regular" charset="0"/>
              </a:defRPr>
            </a:lvl1pPr>
            <a:lvl2pPr marL="487654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306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2957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611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id="{0F563B1E-89A1-4FA3-9240-3D03D6F93CE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" y="6924611"/>
            <a:ext cx="821831" cy="390595"/>
          </a:xfrm>
          <a:prstGeom prst="rect">
            <a:avLst/>
          </a:prstGeom>
        </p:spPr>
        <p:txBody>
          <a:bodyPr/>
          <a:lstStyle>
            <a:lvl1pPr>
              <a:defRPr sz="1280">
                <a:solidFill>
                  <a:schemeClr val="tx2"/>
                </a:solidFill>
              </a:defRPr>
            </a:lvl1pPr>
          </a:lstStyle>
          <a:p>
            <a:fld id="{5FC2A098-C205-46C9-9A6D-EB2B2028999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B8E40DE9-6EB0-4F70-9A67-CE64F165993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339" y="2597314"/>
            <a:ext cx="11658119" cy="3202505"/>
          </a:xfrm>
          <a:prstGeom prst="rect">
            <a:avLst/>
          </a:prstGeom>
        </p:spPr>
        <p:txBody>
          <a:bodyPr/>
          <a:lstStyle>
            <a:lvl1pPr marL="365740" indent="-365740">
              <a:buFont typeface="Lucida Grande"/>
              <a:buChar char="&gt;"/>
              <a:defRPr sz="2560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133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219133" indent="-243826">
              <a:buSzPct val="100000"/>
              <a:buFont typeface="Lucida Grande"/>
              <a:buChar char="&gt;"/>
              <a:defRPr sz="192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1708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194438" indent="-243826">
              <a:buFont typeface="Lucida Grande"/>
              <a:buChar char="&gt;"/>
              <a:defRPr sz="1493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>
              <a:defRPr baseline="0">
                <a:solidFill>
                  <a:schemeClr val="tx2"/>
                </a:solidFill>
              </a:defRPr>
            </a:lvl6pPr>
            <a:lvl7pPr>
              <a:defRPr baseline="0">
                <a:solidFill>
                  <a:schemeClr val="tx2"/>
                </a:solidFill>
              </a:defRPr>
            </a:lvl7pPr>
            <a:lvl9pPr>
              <a:defRPr/>
            </a:lvl9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, 20)</a:t>
            </a:r>
          </a:p>
          <a:p>
            <a:pPr lvl="2"/>
            <a:r>
              <a:rPr lang="en-US"/>
              <a:t>Third level (Open Sans, 18)</a:t>
            </a:r>
          </a:p>
          <a:p>
            <a:pPr lvl="3"/>
            <a:r>
              <a:rPr lang="en-US"/>
              <a:t>Fourth level (Open Sans, 16)</a:t>
            </a:r>
          </a:p>
          <a:p>
            <a:pPr lvl="4"/>
            <a:r>
              <a:rPr lang="en-US"/>
              <a:t>Fifth level (Open Sans, 14)</a:t>
            </a:r>
          </a:p>
        </p:txBody>
      </p:sp>
    </p:spTree>
    <p:extLst>
      <p:ext uri="{BB962C8B-B14F-4D97-AF65-F5344CB8AC3E}">
        <p14:creationId xmlns:p14="http://schemas.microsoft.com/office/powerpoint/2010/main" val="3054327651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White_Content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black and white photo of a building&#10;&#10;Description automatically generated">
            <a:extLst>
              <a:ext uri="{FF2B5EF4-FFF2-40B4-BE49-F238E27FC236}">
                <a16:creationId xmlns:a16="http://schemas.microsoft.com/office/drawing/2014/main" id="{8401AF7D-5279-41C7-BF89-45A1E46B01C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5743"/>
          <a:stretch/>
        </p:blipFill>
        <p:spPr>
          <a:xfrm>
            <a:off x="0" y="0"/>
            <a:ext cx="13022990" cy="7315200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9A368F04-4CDB-40B3-9081-CC1794EAA545}"/>
              </a:ext>
            </a:extLst>
          </p:cNvPr>
          <p:cNvSpPr/>
          <p:nvPr userDrawn="1"/>
        </p:nvSpPr>
        <p:spPr>
          <a:xfrm>
            <a:off x="2" y="0"/>
            <a:ext cx="13041180" cy="7315200"/>
          </a:xfrm>
          <a:prstGeom prst="rect">
            <a:avLst/>
          </a:prstGeom>
          <a:solidFill>
            <a:schemeClr val="bg2">
              <a:alpha val="76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73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F5D961D-A110-46E3-9A8E-CD8C6D050B4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80846" y="1235056"/>
            <a:ext cx="1569822" cy="137048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D31FDD31-55CC-498E-B380-86658AA9A7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9337" y="596897"/>
            <a:ext cx="11658119" cy="706685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pic>
        <p:nvPicPr>
          <p:cNvPr id="13" name="Picture 12" descr="A screenshot of a cell phone&#10;&#10;Description automatically generated">
            <a:extLst>
              <a:ext uri="{FF2B5EF4-FFF2-40B4-BE49-F238E27FC236}">
                <a16:creationId xmlns:a16="http://schemas.microsoft.com/office/drawing/2014/main" id="{C79536C7-D87B-41F2-87B1-CA35D6252720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990816" y="6738111"/>
            <a:ext cx="2017759" cy="262366"/>
          </a:xfrm>
          <a:prstGeom prst="rect">
            <a:avLst/>
          </a:prstGeom>
        </p:spPr>
      </p:pic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3D6390A-DAED-4A47-B7D5-0C5D43422C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7048" y="1773194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2560" b="0" i="0" cap="all" baseline="0">
                <a:solidFill>
                  <a:schemeClr val="tx2"/>
                </a:solidFill>
                <a:latin typeface="Uni Sans Regular" charset="0"/>
                <a:ea typeface="Uni Sans Regular" charset="0"/>
                <a:cs typeface="Uni Sans Regular" charset="0"/>
              </a:defRPr>
            </a:lvl1pPr>
            <a:lvl2pPr marL="487665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331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2994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66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id="{0F563B1E-89A1-4FA3-9240-3D03D6F93CE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" y="6924610"/>
            <a:ext cx="821831" cy="390595"/>
          </a:xfrm>
          <a:prstGeom prst="rect">
            <a:avLst/>
          </a:prstGeom>
        </p:spPr>
        <p:txBody>
          <a:bodyPr/>
          <a:lstStyle>
            <a:lvl1pPr>
              <a:defRPr sz="1280">
                <a:solidFill>
                  <a:schemeClr val="tx2"/>
                </a:solidFill>
              </a:defRPr>
            </a:lvl1pPr>
          </a:lstStyle>
          <a:p>
            <a:fld id="{5FC2A098-C205-46C9-9A6D-EB2B2028999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B8E40DE9-6EB0-4F70-9A67-CE64F165993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337" y="2597312"/>
            <a:ext cx="11658119" cy="3202505"/>
          </a:xfrm>
          <a:prstGeom prst="rect">
            <a:avLst/>
          </a:prstGeom>
        </p:spPr>
        <p:txBody>
          <a:bodyPr/>
          <a:lstStyle>
            <a:lvl1pPr marL="365749" indent="-365749">
              <a:buFont typeface="Lucida Grande"/>
              <a:buChar char="&gt;"/>
              <a:defRPr sz="2560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133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219162" indent="-243832">
              <a:buSzPct val="100000"/>
              <a:buFont typeface="Lucida Grande"/>
              <a:buChar char="&gt;"/>
              <a:defRPr sz="192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1708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194492" indent="-243832">
              <a:buFont typeface="Lucida Grande"/>
              <a:buChar char="&gt;"/>
              <a:defRPr sz="1493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>
              <a:defRPr baseline="0">
                <a:solidFill>
                  <a:schemeClr val="tx2"/>
                </a:solidFill>
              </a:defRPr>
            </a:lvl6pPr>
            <a:lvl7pPr>
              <a:defRPr baseline="0">
                <a:solidFill>
                  <a:schemeClr val="tx2"/>
                </a:solidFill>
              </a:defRPr>
            </a:lvl7pPr>
            <a:lvl9pPr>
              <a:defRPr/>
            </a:lvl9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, 20)</a:t>
            </a:r>
          </a:p>
          <a:p>
            <a:pPr lvl="2"/>
            <a:r>
              <a:rPr lang="en-US"/>
              <a:t>Third level (Open Sans, 18)</a:t>
            </a:r>
          </a:p>
          <a:p>
            <a:pPr lvl="3"/>
            <a:r>
              <a:rPr lang="en-US"/>
              <a:t>Fourth level (Open Sans, 16)</a:t>
            </a:r>
          </a:p>
          <a:p>
            <a:pPr lvl="4"/>
            <a:r>
              <a:rPr lang="en-US"/>
              <a:t>Fifth level (Open Sans, 14)</a:t>
            </a:r>
          </a:p>
        </p:txBody>
      </p:sp>
      <p:pic>
        <p:nvPicPr>
          <p:cNvPr id="8" name="Picture 7" descr="A close up of a logo&#10;&#10;Description automatically generated">
            <a:extLst>
              <a:ext uri="{FF2B5EF4-FFF2-40B4-BE49-F238E27FC236}">
                <a16:creationId xmlns:a16="http://schemas.microsoft.com/office/drawing/2014/main" id="{8BBE3CB1-85B5-4757-B841-BEA01AD58912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959850" y="6738119"/>
            <a:ext cx="2335316" cy="303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99883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White_Content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FF5D961D-A110-46E3-9A8E-CD8C6D050B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0846" y="1235056"/>
            <a:ext cx="1569822" cy="137048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D31FDD31-55CC-498E-B380-86658AA9A7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9337" y="596897"/>
            <a:ext cx="11658119" cy="706685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pic>
        <p:nvPicPr>
          <p:cNvPr id="13" name="Picture 12" descr="A screenshot of a cell phone&#10;&#10;Description automatically generated">
            <a:extLst>
              <a:ext uri="{FF2B5EF4-FFF2-40B4-BE49-F238E27FC236}">
                <a16:creationId xmlns:a16="http://schemas.microsoft.com/office/drawing/2014/main" id="{C79536C7-D87B-41F2-87B1-CA35D625272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990816" y="6738111"/>
            <a:ext cx="2017759" cy="262366"/>
          </a:xfrm>
          <a:prstGeom prst="rect">
            <a:avLst/>
          </a:prstGeom>
        </p:spPr>
      </p:pic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3D6390A-DAED-4A47-B7D5-0C5D43422C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7048" y="1773194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2560" b="0" i="0" cap="all" baseline="0">
                <a:solidFill>
                  <a:schemeClr val="tx2"/>
                </a:solidFill>
                <a:latin typeface="Uni Sans Regular" charset="0"/>
                <a:ea typeface="Uni Sans Regular" charset="0"/>
                <a:cs typeface="Uni Sans Regular" charset="0"/>
              </a:defRPr>
            </a:lvl1pPr>
            <a:lvl2pPr marL="487665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331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2994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66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id="{0F563B1E-89A1-4FA3-9240-3D03D6F93CE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" y="6924610"/>
            <a:ext cx="821831" cy="390595"/>
          </a:xfrm>
          <a:prstGeom prst="rect">
            <a:avLst/>
          </a:prstGeom>
        </p:spPr>
        <p:txBody>
          <a:bodyPr/>
          <a:lstStyle>
            <a:lvl1pPr>
              <a:defRPr sz="1280">
                <a:solidFill>
                  <a:schemeClr val="tx2"/>
                </a:solidFill>
              </a:defRPr>
            </a:lvl1pPr>
          </a:lstStyle>
          <a:p>
            <a:fld id="{5FC2A098-C205-46C9-9A6D-EB2B2028999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B8E40DE9-6EB0-4F70-9A67-CE64F165993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337" y="2597312"/>
            <a:ext cx="11658119" cy="3202505"/>
          </a:xfrm>
          <a:prstGeom prst="rect">
            <a:avLst/>
          </a:prstGeom>
        </p:spPr>
        <p:txBody>
          <a:bodyPr/>
          <a:lstStyle>
            <a:lvl1pPr marL="365749" indent="-365749">
              <a:buFont typeface="Lucida Grande"/>
              <a:buChar char="&gt;"/>
              <a:defRPr sz="2560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133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219162" indent="-243832">
              <a:buSzPct val="100000"/>
              <a:buFont typeface="Lucida Grande"/>
              <a:buChar char="&gt;"/>
              <a:defRPr sz="192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1708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194492" indent="-243832">
              <a:buFont typeface="Lucida Grande"/>
              <a:buChar char="&gt;"/>
              <a:defRPr sz="1493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>
              <a:defRPr baseline="0">
                <a:solidFill>
                  <a:schemeClr val="tx2"/>
                </a:solidFill>
              </a:defRPr>
            </a:lvl6pPr>
            <a:lvl7pPr>
              <a:defRPr baseline="0">
                <a:solidFill>
                  <a:schemeClr val="tx2"/>
                </a:solidFill>
              </a:defRPr>
            </a:lvl7pPr>
            <a:lvl9pPr>
              <a:defRPr/>
            </a:lvl9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, 20)</a:t>
            </a:r>
          </a:p>
          <a:p>
            <a:pPr lvl="2"/>
            <a:r>
              <a:rPr lang="en-US"/>
              <a:t>Third level (Open Sans, 18)</a:t>
            </a:r>
          </a:p>
          <a:p>
            <a:pPr lvl="3"/>
            <a:r>
              <a:rPr lang="en-US"/>
              <a:t>Fourth level (Open Sans, 16)</a:t>
            </a:r>
          </a:p>
          <a:p>
            <a:pPr lvl="4"/>
            <a:r>
              <a:rPr lang="en-US"/>
              <a:t>Fifth level (Open Sans, 14)</a:t>
            </a:r>
          </a:p>
        </p:txBody>
      </p:sp>
      <p:pic>
        <p:nvPicPr>
          <p:cNvPr id="8" name="Picture 7" descr="A close up of a logo&#10;&#10;Description automatically generated">
            <a:extLst>
              <a:ext uri="{FF2B5EF4-FFF2-40B4-BE49-F238E27FC236}">
                <a16:creationId xmlns:a16="http://schemas.microsoft.com/office/drawing/2014/main" id="{8BBE3CB1-85B5-4757-B841-BEA01AD58912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959850" y="6738119"/>
            <a:ext cx="2335316" cy="303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8949878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White_Content Slide 3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FF5D961D-A110-46E3-9A8E-CD8C6D050B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0846" y="1235056"/>
            <a:ext cx="1569822" cy="137048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D31FDD31-55CC-498E-B380-86658AA9A7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9337" y="596897"/>
            <a:ext cx="11658119" cy="706685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pic>
        <p:nvPicPr>
          <p:cNvPr id="13" name="Picture 12" descr="A screenshot of a cell phone&#10;&#10;Description automatically generated">
            <a:extLst>
              <a:ext uri="{FF2B5EF4-FFF2-40B4-BE49-F238E27FC236}">
                <a16:creationId xmlns:a16="http://schemas.microsoft.com/office/drawing/2014/main" id="{C79536C7-D87B-41F2-87B1-CA35D625272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990816" y="6738111"/>
            <a:ext cx="2017759" cy="262366"/>
          </a:xfrm>
          <a:prstGeom prst="rect">
            <a:avLst/>
          </a:prstGeom>
        </p:spPr>
      </p:pic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3D6390A-DAED-4A47-B7D5-0C5D43422C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7048" y="1773194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2560" b="0" i="0" cap="all" baseline="0">
                <a:solidFill>
                  <a:schemeClr val="tx2"/>
                </a:solidFill>
                <a:latin typeface="Uni Sans Regular" charset="0"/>
                <a:ea typeface="Uni Sans Regular" charset="0"/>
                <a:cs typeface="Uni Sans Regular" charset="0"/>
              </a:defRPr>
            </a:lvl1pPr>
            <a:lvl2pPr marL="487665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331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2994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66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id="{0F563B1E-89A1-4FA3-9240-3D03D6F93CE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" y="6924610"/>
            <a:ext cx="821831" cy="390595"/>
          </a:xfrm>
          <a:prstGeom prst="rect">
            <a:avLst/>
          </a:prstGeom>
        </p:spPr>
        <p:txBody>
          <a:bodyPr/>
          <a:lstStyle>
            <a:lvl1pPr>
              <a:defRPr sz="1280">
                <a:solidFill>
                  <a:schemeClr val="tx2"/>
                </a:solidFill>
              </a:defRPr>
            </a:lvl1pPr>
          </a:lstStyle>
          <a:p>
            <a:fld id="{5FC2A098-C205-46C9-9A6D-EB2B2028999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B8E40DE9-6EB0-4F70-9A67-CE64F165993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337" y="2597312"/>
            <a:ext cx="11658119" cy="3202505"/>
          </a:xfrm>
          <a:prstGeom prst="rect">
            <a:avLst/>
          </a:prstGeom>
        </p:spPr>
        <p:txBody>
          <a:bodyPr/>
          <a:lstStyle>
            <a:lvl1pPr marL="365749" indent="-365749">
              <a:buFont typeface="Lucida Grande"/>
              <a:buChar char="&gt;"/>
              <a:defRPr sz="2560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133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219162" indent="-243832">
              <a:buSzPct val="100000"/>
              <a:buFont typeface="Lucida Grande"/>
              <a:buChar char="&gt;"/>
              <a:defRPr sz="192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1708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194492" indent="-243832">
              <a:buFont typeface="Lucida Grande"/>
              <a:buChar char="&gt;"/>
              <a:defRPr sz="1493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>
              <a:defRPr baseline="0">
                <a:solidFill>
                  <a:schemeClr val="tx2"/>
                </a:solidFill>
              </a:defRPr>
            </a:lvl6pPr>
            <a:lvl7pPr>
              <a:defRPr baseline="0">
                <a:solidFill>
                  <a:schemeClr val="tx2"/>
                </a:solidFill>
              </a:defRPr>
            </a:lvl7pPr>
            <a:lvl9pPr>
              <a:defRPr/>
            </a:lvl9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, 20)</a:t>
            </a:r>
          </a:p>
          <a:p>
            <a:pPr lvl="2"/>
            <a:r>
              <a:rPr lang="en-US"/>
              <a:t>Third level (Open Sans, 18)</a:t>
            </a:r>
          </a:p>
          <a:p>
            <a:pPr lvl="3"/>
            <a:r>
              <a:rPr lang="en-US"/>
              <a:t>Fourth level (Open Sans, 16)</a:t>
            </a:r>
          </a:p>
          <a:p>
            <a:pPr lvl="4"/>
            <a:r>
              <a:rPr lang="en-US"/>
              <a:t>Fifth level (Open Sans, 14)</a:t>
            </a:r>
          </a:p>
        </p:txBody>
      </p:sp>
    </p:spTree>
    <p:extLst>
      <p:ext uri="{BB962C8B-B14F-4D97-AF65-F5344CB8AC3E}">
        <p14:creationId xmlns:p14="http://schemas.microsoft.com/office/powerpoint/2010/main" val="122031530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7EF4F52D-E178-42C6-9597-FF75E033608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7047" y="3299896"/>
            <a:ext cx="11658117" cy="3202505"/>
          </a:xfrm>
          <a:prstGeom prst="rect">
            <a:avLst/>
          </a:prstGeom>
        </p:spPr>
        <p:txBody>
          <a:bodyPr/>
          <a:lstStyle>
            <a:lvl1pPr marL="487684" indent="-487684">
              <a:buFont typeface="Lucida Grande"/>
              <a:buChar char="&gt;"/>
              <a:defRPr sz="3413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845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625610" indent="-325122">
              <a:buSzPct val="100000"/>
              <a:buFont typeface="Lucida Grande"/>
              <a:buChar char="&gt;"/>
              <a:defRPr sz="2560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2275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926098" indent="-325122">
              <a:buFont typeface="Lucida Grande"/>
              <a:buChar char="&gt;"/>
              <a:defRPr sz="1992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 Bold, 20)</a:t>
            </a:r>
          </a:p>
          <a:p>
            <a:pPr lvl="2"/>
            <a:r>
              <a:rPr lang="en-US"/>
              <a:t>Third level (Open Sans Bold, 18)</a:t>
            </a:r>
          </a:p>
          <a:p>
            <a:pPr lvl="3"/>
            <a:r>
              <a:rPr lang="en-US"/>
              <a:t>Fourth level (Open Sans Bold, 16)</a:t>
            </a:r>
          </a:p>
          <a:p>
            <a:pPr lvl="4"/>
            <a:r>
              <a:rPr lang="en-US"/>
              <a:t>Fifth level (Open Sans Bold, 14)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84B26974-13BB-4B72-B68E-094B650A0DD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4756" y="2461394"/>
            <a:ext cx="11640409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3413" b="0" i="0" baseline="0">
                <a:solidFill>
                  <a:schemeClr val="tx2"/>
                </a:solidFill>
                <a:latin typeface="Uni Sans" charset="0"/>
                <a:ea typeface="Uni Sans" charset="0"/>
                <a:cs typeface="Uni Sans" charset="0"/>
              </a:defRPr>
            </a:lvl1pPr>
            <a:lvl2pPr marL="650244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1300489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95073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2600976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33A4C5D-08C6-4F99-B6B4-63E7B91AB3A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0845" y="1939212"/>
            <a:ext cx="1569822" cy="137049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12D7105C-074D-4774-999B-8E6677BD9E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7047" y="528372"/>
            <a:ext cx="11658117" cy="1413369"/>
          </a:xfrm>
          <a:prstGeom prst="rect">
            <a:avLst/>
          </a:prstGeom>
        </p:spPr>
        <p:txBody>
          <a:bodyPr anchor="b"/>
          <a:lstStyle>
            <a:lvl1pPr algn="l">
              <a:defRPr sz="4267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  <a:br>
              <a:rPr lang="en-US"/>
            </a:br>
            <a:r>
              <a:rPr lang="en-US"/>
              <a:t>(ENCODE NORMAL BLACK, 30 PT.)</a:t>
            </a:r>
          </a:p>
        </p:txBody>
      </p:sp>
      <p:pic>
        <p:nvPicPr>
          <p:cNvPr id="8" name="Picture 7" descr="A screenshot of a cell phone&#10;&#10;Description automatically generated">
            <a:extLst>
              <a:ext uri="{FF2B5EF4-FFF2-40B4-BE49-F238E27FC236}">
                <a16:creationId xmlns:a16="http://schemas.microsoft.com/office/drawing/2014/main" id="{53D3DDB7-D1F0-46A9-9D4F-CAAF6C5095F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77404" y="6681966"/>
            <a:ext cx="2017759" cy="2623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7690189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White_Title Slide 1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black and white photo of a building&#10;&#10;Description automatically generated">
            <a:extLst>
              <a:ext uri="{FF2B5EF4-FFF2-40B4-BE49-F238E27FC236}">
                <a16:creationId xmlns:a16="http://schemas.microsoft.com/office/drawing/2014/main" id="{91403BB8-FE22-414F-A7DC-5173D93AB0F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5743"/>
          <a:stretch/>
        </p:blipFill>
        <p:spPr>
          <a:xfrm>
            <a:off x="0" y="0"/>
            <a:ext cx="13022990" cy="73152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97842081-A822-4595-A3C9-CE9A74968A55}"/>
              </a:ext>
            </a:extLst>
          </p:cNvPr>
          <p:cNvSpPr/>
          <p:nvPr userDrawn="1"/>
        </p:nvSpPr>
        <p:spPr>
          <a:xfrm>
            <a:off x="2" y="0"/>
            <a:ext cx="13041180" cy="7315200"/>
          </a:xfrm>
          <a:prstGeom prst="rect">
            <a:avLst/>
          </a:prstGeom>
          <a:solidFill>
            <a:schemeClr val="bg2">
              <a:alpha val="76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56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B6A24A3-2469-4535-BF17-D9151C7F0BA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07937" y="4873176"/>
            <a:ext cx="2275840" cy="198684"/>
          </a:xfrm>
          <a:prstGeom prst="rect">
            <a:avLst/>
          </a:prstGeom>
        </p:spPr>
      </p:pic>
      <p:pic>
        <p:nvPicPr>
          <p:cNvPr id="12" name="Picture 11" descr="A screenshot of a cell phone&#10;&#10;Description automatically generated">
            <a:extLst>
              <a:ext uri="{FF2B5EF4-FFF2-40B4-BE49-F238E27FC236}">
                <a16:creationId xmlns:a16="http://schemas.microsoft.com/office/drawing/2014/main" id="{5D54573B-D5B6-4023-A486-E86DF7872F5A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389525" y="6249614"/>
            <a:ext cx="2993847" cy="727229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A7C40198-6921-470E-8BB0-E8DA1FC2A5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4755" y="917326"/>
            <a:ext cx="9989035" cy="3757164"/>
          </a:xfrm>
          <a:prstGeom prst="rect">
            <a:avLst/>
          </a:prstGeom>
        </p:spPr>
        <p:txBody>
          <a:bodyPr anchor="b"/>
          <a:lstStyle>
            <a:lvl1pPr algn="l">
              <a:defRPr sz="5335" b="1" i="0" cap="all" baseline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UWFT PPT TEMPLATE</a:t>
            </a:r>
          </a:p>
        </p:txBody>
      </p:sp>
    </p:spTree>
    <p:extLst>
      <p:ext uri="{BB962C8B-B14F-4D97-AF65-F5344CB8AC3E}">
        <p14:creationId xmlns:p14="http://schemas.microsoft.com/office/powerpoint/2010/main" val="5352930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White_Content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black and white photo of a building&#10;&#10;Description automatically generated">
            <a:extLst>
              <a:ext uri="{FF2B5EF4-FFF2-40B4-BE49-F238E27FC236}">
                <a16:creationId xmlns:a16="http://schemas.microsoft.com/office/drawing/2014/main" id="{8401AF7D-5279-41C7-BF89-45A1E46B01C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5743"/>
          <a:stretch/>
        </p:blipFill>
        <p:spPr>
          <a:xfrm>
            <a:off x="0" y="0"/>
            <a:ext cx="13022990" cy="7315200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9A368F04-4CDB-40B3-9081-CC1794EAA545}"/>
              </a:ext>
            </a:extLst>
          </p:cNvPr>
          <p:cNvSpPr/>
          <p:nvPr userDrawn="1"/>
        </p:nvSpPr>
        <p:spPr>
          <a:xfrm>
            <a:off x="2" y="0"/>
            <a:ext cx="13041180" cy="7315200"/>
          </a:xfrm>
          <a:prstGeom prst="rect">
            <a:avLst/>
          </a:prstGeom>
          <a:solidFill>
            <a:schemeClr val="bg2">
              <a:alpha val="76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56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F5D961D-A110-46E3-9A8E-CD8C6D050B4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80846" y="1235059"/>
            <a:ext cx="1569822" cy="137048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D31FDD31-55CC-498E-B380-86658AA9A7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9341" y="596898"/>
            <a:ext cx="11658118" cy="706685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pic>
        <p:nvPicPr>
          <p:cNvPr id="13" name="Picture 12" descr="A screenshot of a cell phone&#10;&#10;Description automatically generated">
            <a:extLst>
              <a:ext uri="{FF2B5EF4-FFF2-40B4-BE49-F238E27FC236}">
                <a16:creationId xmlns:a16="http://schemas.microsoft.com/office/drawing/2014/main" id="{C79536C7-D87B-41F2-87B1-CA35D6252720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990818" y="6738111"/>
            <a:ext cx="2017759" cy="262366"/>
          </a:xfrm>
          <a:prstGeom prst="rect">
            <a:avLst/>
          </a:prstGeom>
        </p:spPr>
      </p:pic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3D6390A-DAED-4A47-B7D5-0C5D43422C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7049" y="1773196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2560" b="0" i="0" cap="all" baseline="0">
                <a:solidFill>
                  <a:schemeClr val="tx2"/>
                </a:solidFill>
                <a:latin typeface="Uni Sans Regular" charset="0"/>
                <a:ea typeface="Uni Sans Regular" charset="0"/>
                <a:cs typeface="Uni Sans Regular" charset="0"/>
              </a:defRPr>
            </a:lvl1pPr>
            <a:lvl2pPr marL="48766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328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299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653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id="{0F563B1E-89A1-4FA3-9240-3D03D6F93CE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" y="6924611"/>
            <a:ext cx="821831" cy="390595"/>
          </a:xfrm>
          <a:prstGeom prst="rect">
            <a:avLst/>
          </a:prstGeom>
        </p:spPr>
        <p:txBody>
          <a:bodyPr/>
          <a:lstStyle>
            <a:lvl1pPr>
              <a:defRPr sz="1280">
                <a:solidFill>
                  <a:schemeClr val="tx2"/>
                </a:solidFill>
              </a:defRPr>
            </a:lvl1pPr>
          </a:lstStyle>
          <a:p>
            <a:fld id="{5FC2A098-C205-46C9-9A6D-EB2B2028999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B8E40DE9-6EB0-4F70-9A67-CE64F165993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341" y="2597314"/>
            <a:ext cx="11658118" cy="3202505"/>
          </a:xfrm>
          <a:prstGeom prst="rect">
            <a:avLst/>
          </a:prstGeom>
        </p:spPr>
        <p:txBody>
          <a:bodyPr/>
          <a:lstStyle>
            <a:lvl1pPr marL="365749" indent="-365749">
              <a:buFont typeface="Lucida Grande"/>
              <a:buChar char="&gt;"/>
              <a:defRPr sz="2560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133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219158" indent="-243833">
              <a:buSzPct val="100000"/>
              <a:buFont typeface="Lucida Grande"/>
              <a:buChar char="&gt;"/>
              <a:defRPr sz="192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1707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194486" indent="-243833">
              <a:buFont typeface="Lucida Grande"/>
              <a:buChar char="&gt;"/>
              <a:defRPr sz="1495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>
              <a:defRPr baseline="0">
                <a:solidFill>
                  <a:schemeClr val="tx2"/>
                </a:solidFill>
              </a:defRPr>
            </a:lvl6pPr>
            <a:lvl7pPr>
              <a:defRPr baseline="0">
                <a:solidFill>
                  <a:schemeClr val="tx2"/>
                </a:solidFill>
              </a:defRPr>
            </a:lvl7pPr>
            <a:lvl9pPr>
              <a:defRPr/>
            </a:lvl9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, 20)</a:t>
            </a:r>
          </a:p>
          <a:p>
            <a:pPr lvl="2"/>
            <a:r>
              <a:rPr lang="en-US"/>
              <a:t>Third level (Open Sans, 18)</a:t>
            </a:r>
          </a:p>
          <a:p>
            <a:pPr lvl="3"/>
            <a:r>
              <a:rPr lang="en-US"/>
              <a:t>Fourth level (Open Sans, 16)</a:t>
            </a:r>
          </a:p>
          <a:p>
            <a:pPr lvl="4"/>
            <a:r>
              <a:rPr lang="en-US"/>
              <a:t>Fifth level (Open Sans, 14)</a:t>
            </a:r>
          </a:p>
        </p:txBody>
      </p:sp>
      <p:pic>
        <p:nvPicPr>
          <p:cNvPr id="8" name="Picture 7" descr="A close up of a logo&#10;&#10;Description automatically generated">
            <a:extLst>
              <a:ext uri="{FF2B5EF4-FFF2-40B4-BE49-F238E27FC236}">
                <a16:creationId xmlns:a16="http://schemas.microsoft.com/office/drawing/2014/main" id="{8BBE3CB1-85B5-4757-B841-BEA01AD58912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959853" y="6738124"/>
            <a:ext cx="2335316" cy="303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088759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White_Content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FF5D961D-A110-46E3-9A8E-CD8C6D050B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0846" y="1235059"/>
            <a:ext cx="1569822" cy="137048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D31FDD31-55CC-498E-B380-86658AA9A7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9341" y="596898"/>
            <a:ext cx="11658118" cy="706685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pic>
        <p:nvPicPr>
          <p:cNvPr id="13" name="Picture 12" descr="A screenshot of a cell phone&#10;&#10;Description automatically generated">
            <a:extLst>
              <a:ext uri="{FF2B5EF4-FFF2-40B4-BE49-F238E27FC236}">
                <a16:creationId xmlns:a16="http://schemas.microsoft.com/office/drawing/2014/main" id="{C79536C7-D87B-41F2-87B1-CA35D625272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990818" y="6738111"/>
            <a:ext cx="2017759" cy="262366"/>
          </a:xfrm>
          <a:prstGeom prst="rect">
            <a:avLst/>
          </a:prstGeom>
        </p:spPr>
      </p:pic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3D6390A-DAED-4A47-B7D5-0C5D43422C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7049" y="1773196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2560" b="0" i="0" cap="all" baseline="0">
                <a:solidFill>
                  <a:schemeClr val="tx2"/>
                </a:solidFill>
                <a:latin typeface="Uni Sans Regular" charset="0"/>
                <a:ea typeface="Uni Sans Regular" charset="0"/>
                <a:cs typeface="Uni Sans Regular" charset="0"/>
              </a:defRPr>
            </a:lvl1pPr>
            <a:lvl2pPr marL="48766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328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299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653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id="{0F563B1E-89A1-4FA3-9240-3D03D6F93CE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" y="6924611"/>
            <a:ext cx="821831" cy="390595"/>
          </a:xfrm>
          <a:prstGeom prst="rect">
            <a:avLst/>
          </a:prstGeom>
        </p:spPr>
        <p:txBody>
          <a:bodyPr/>
          <a:lstStyle>
            <a:lvl1pPr>
              <a:defRPr sz="1280">
                <a:solidFill>
                  <a:schemeClr val="tx2"/>
                </a:solidFill>
              </a:defRPr>
            </a:lvl1pPr>
          </a:lstStyle>
          <a:p>
            <a:fld id="{5FC2A098-C205-46C9-9A6D-EB2B2028999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B8E40DE9-6EB0-4F70-9A67-CE64F165993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341" y="2597314"/>
            <a:ext cx="11658118" cy="3202505"/>
          </a:xfrm>
          <a:prstGeom prst="rect">
            <a:avLst/>
          </a:prstGeom>
        </p:spPr>
        <p:txBody>
          <a:bodyPr/>
          <a:lstStyle>
            <a:lvl1pPr marL="365749" indent="-365749">
              <a:buFont typeface="Lucida Grande"/>
              <a:buChar char="&gt;"/>
              <a:defRPr sz="2560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133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219158" indent="-243833">
              <a:buSzPct val="100000"/>
              <a:buFont typeface="Lucida Grande"/>
              <a:buChar char="&gt;"/>
              <a:defRPr sz="192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1707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194486" indent="-243833">
              <a:buFont typeface="Lucida Grande"/>
              <a:buChar char="&gt;"/>
              <a:defRPr sz="1495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>
              <a:defRPr baseline="0">
                <a:solidFill>
                  <a:schemeClr val="tx2"/>
                </a:solidFill>
              </a:defRPr>
            </a:lvl6pPr>
            <a:lvl7pPr>
              <a:defRPr baseline="0">
                <a:solidFill>
                  <a:schemeClr val="tx2"/>
                </a:solidFill>
              </a:defRPr>
            </a:lvl7pPr>
            <a:lvl9pPr>
              <a:defRPr/>
            </a:lvl9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, 20)</a:t>
            </a:r>
          </a:p>
          <a:p>
            <a:pPr lvl="2"/>
            <a:r>
              <a:rPr lang="en-US"/>
              <a:t>Third level (Open Sans, 18)</a:t>
            </a:r>
          </a:p>
          <a:p>
            <a:pPr lvl="3"/>
            <a:r>
              <a:rPr lang="en-US"/>
              <a:t>Fourth level (Open Sans, 16)</a:t>
            </a:r>
          </a:p>
          <a:p>
            <a:pPr lvl="4"/>
            <a:r>
              <a:rPr lang="en-US"/>
              <a:t>Fifth level (Open Sans, 14)</a:t>
            </a:r>
          </a:p>
        </p:txBody>
      </p:sp>
      <p:pic>
        <p:nvPicPr>
          <p:cNvPr id="8" name="Picture 7" descr="A close up of a logo&#10;&#10;Description automatically generated">
            <a:extLst>
              <a:ext uri="{FF2B5EF4-FFF2-40B4-BE49-F238E27FC236}">
                <a16:creationId xmlns:a16="http://schemas.microsoft.com/office/drawing/2014/main" id="{8BBE3CB1-85B5-4757-B841-BEA01AD58912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959853" y="6738124"/>
            <a:ext cx="2335316" cy="303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4157633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White_Content Slide 3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FF5D961D-A110-46E3-9A8E-CD8C6D050B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0846" y="1235059"/>
            <a:ext cx="1569822" cy="137048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D31FDD31-55CC-498E-B380-86658AA9A7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9341" y="596898"/>
            <a:ext cx="11658118" cy="706685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pic>
        <p:nvPicPr>
          <p:cNvPr id="13" name="Picture 12" descr="A screenshot of a cell phone&#10;&#10;Description automatically generated">
            <a:extLst>
              <a:ext uri="{FF2B5EF4-FFF2-40B4-BE49-F238E27FC236}">
                <a16:creationId xmlns:a16="http://schemas.microsoft.com/office/drawing/2014/main" id="{C79536C7-D87B-41F2-87B1-CA35D625272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990818" y="6738111"/>
            <a:ext cx="2017759" cy="262366"/>
          </a:xfrm>
          <a:prstGeom prst="rect">
            <a:avLst/>
          </a:prstGeom>
        </p:spPr>
      </p:pic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3D6390A-DAED-4A47-B7D5-0C5D43422C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7049" y="1773196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2560" b="0" i="0" cap="all" baseline="0">
                <a:solidFill>
                  <a:schemeClr val="tx2"/>
                </a:solidFill>
                <a:latin typeface="Uni Sans Regular" charset="0"/>
                <a:ea typeface="Uni Sans Regular" charset="0"/>
                <a:cs typeface="Uni Sans Regular" charset="0"/>
              </a:defRPr>
            </a:lvl1pPr>
            <a:lvl2pPr marL="48766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328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299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653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id="{0F563B1E-89A1-4FA3-9240-3D03D6F93CE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" y="6924611"/>
            <a:ext cx="821831" cy="390595"/>
          </a:xfrm>
          <a:prstGeom prst="rect">
            <a:avLst/>
          </a:prstGeom>
        </p:spPr>
        <p:txBody>
          <a:bodyPr/>
          <a:lstStyle>
            <a:lvl1pPr>
              <a:defRPr sz="1280">
                <a:solidFill>
                  <a:schemeClr val="tx2"/>
                </a:solidFill>
              </a:defRPr>
            </a:lvl1pPr>
          </a:lstStyle>
          <a:p>
            <a:fld id="{5FC2A098-C205-46C9-9A6D-EB2B2028999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B8E40DE9-6EB0-4F70-9A67-CE64F165993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341" y="2597314"/>
            <a:ext cx="11658118" cy="3202505"/>
          </a:xfrm>
          <a:prstGeom prst="rect">
            <a:avLst/>
          </a:prstGeom>
        </p:spPr>
        <p:txBody>
          <a:bodyPr/>
          <a:lstStyle>
            <a:lvl1pPr marL="365749" indent="-365749">
              <a:buFont typeface="Lucida Grande"/>
              <a:buChar char="&gt;"/>
              <a:defRPr sz="2560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133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219158" indent="-243833">
              <a:buSzPct val="100000"/>
              <a:buFont typeface="Lucida Grande"/>
              <a:buChar char="&gt;"/>
              <a:defRPr sz="192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1707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194486" indent="-243833">
              <a:buFont typeface="Lucida Grande"/>
              <a:buChar char="&gt;"/>
              <a:defRPr sz="1495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>
              <a:defRPr baseline="0">
                <a:solidFill>
                  <a:schemeClr val="tx2"/>
                </a:solidFill>
              </a:defRPr>
            </a:lvl6pPr>
            <a:lvl7pPr>
              <a:defRPr baseline="0">
                <a:solidFill>
                  <a:schemeClr val="tx2"/>
                </a:solidFill>
              </a:defRPr>
            </a:lvl7pPr>
            <a:lvl9pPr>
              <a:defRPr/>
            </a:lvl9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, 20)</a:t>
            </a:r>
          </a:p>
          <a:p>
            <a:pPr lvl="2"/>
            <a:r>
              <a:rPr lang="en-US"/>
              <a:t>Third level (Open Sans, 18)</a:t>
            </a:r>
          </a:p>
          <a:p>
            <a:pPr lvl="3"/>
            <a:r>
              <a:rPr lang="en-US"/>
              <a:t>Fourth level (Open Sans, 16)</a:t>
            </a:r>
          </a:p>
          <a:p>
            <a:pPr lvl="4"/>
            <a:r>
              <a:rPr lang="en-US"/>
              <a:t>Fifth level (Open Sans, 14)</a:t>
            </a:r>
          </a:p>
        </p:txBody>
      </p:sp>
    </p:spTree>
    <p:extLst>
      <p:ext uri="{BB962C8B-B14F-4D97-AF65-F5344CB8AC3E}">
        <p14:creationId xmlns:p14="http://schemas.microsoft.com/office/powerpoint/2010/main" val="2310005055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White_Content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black and white photo of a building&#10;&#10;Description automatically generated">
            <a:extLst>
              <a:ext uri="{FF2B5EF4-FFF2-40B4-BE49-F238E27FC236}">
                <a16:creationId xmlns:a16="http://schemas.microsoft.com/office/drawing/2014/main" id="{8401AF7D-5279-41C7-BF89-45A1E46B01C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5743"/>
          <a:stretch/>
        </p:blipFill>
        <p:spPr>
          <a:xfrm>
            <a:off x="0" y="0"/>
            <a:ext cx="13022990" cy="7315200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9A368F04-4CDB-40B3-9081-CC1794EAA545}"/>
              </a:ext>
            </a:extLst>
          </p:cNvPr>
          <p:cNvSpPr/>
          <p:nvPr userDrawn="1"/>
        </p:nvSpPr>
        <p:spPr>
          <a:xfrm>
            <a:off x="2" y="0"/>
            <a:ext cx="13041180" cy="7315200"/>
          </a:xfrm>
          <a:prstGeom prst="rect">
            <a:avLst/>
          </a:prstGeom>
          <a:solidFill>
            <a:schemeClr val="bg2">
              <a:alpha val="76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56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F5D961D-A110-46E3-9A8E-CD8C6D050B4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80846" y="1235058"/>
            <a:ext cx="1569822" cy="137048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D31FDD31-55CC-498E-B380-86658AA9A7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9339" y="596897"/>
            <a:ext cx="11658118" cy="706685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pic>
        <p:nvPicPr>
          <p:cNvPr id="13" name="Picture 12" descr="A screenshot of a cell phone&#10;&#10;Description automatically generated">
            <a:extLst>
              <a:ext uri="{FF2B5EF4-FFF2-40B4-BE49-F238E27FC236}">
                <a16:creationId xmlns:a16="http://schemas.microsoft.com/office/drawing/2014/main" id="{C79536C7-D87B-41F2-87B1-CA35D6252720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990816" y="6738111"/>
            <a:ext cx="2017759" cy="262366"/>
          </a:xfrm>
          <a:prstGeom prst="rect">
            <a:avLst/>
          </a:prstGeom>
        </p:spPr>
      </p:pic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3D6390A-DAED-4A47-B7D5-0C5D43422C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7049" y="1773194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2560" b="0" i="0" cap="all" baseline="0">
                <a:solidFill>
                  <a:schemeClr val="tx2"/>
                </a:solidFill>
                <a:latin typeface="Uni Sans Regular" charset="0"/>
                <a:ea typeface="Uni Sans Regular" charset="0"/>
                <a:cs typeface="Uni Sans Regular" charset="0"/>
              </a:defRPr>
            </a:lvl1pPr>
            <a:lvl2pPr marL="487675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35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3026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701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id="{0F563B1E-89A1-4FA3-9240-3D03D6F93CE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" y="6924610"/>
            <a:ext cx="821831" cy="390595"/>
          </a:xfrm>
          <a:prstGeom prst="rect">
            <a:avLst/>
          </a:prstGeom>
        </p:spPr>
        <p:txBody>
          <a:bodyPr/>
          <a:lstStyle>
            <a:lvl1pPr>
              <a:defRPr sz="1280">
                <a:solidFill>
                  <a:schemeClr val="tx2"/>
                </a:solidFill>
              </a:defRPr>
            </a:lvl1pPr>
          </a:lstStyle>
          <a:p>
            <a:fld id="{5FC2A098-C205-46C9-9A6D-EB2B2028999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B8E40DE9-6EB0-4F70-9A67-CE64F165993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339" y="2597312"/>
            <a:ext cx="11658118" cy="3202505"/>
          </a:xfrm>
          <a:prstGeom prst="rect">
            <a:avLst/>
          </a:prstGeom>
        </p:spPr>
        <p:txBody>
          <a:bodyPr/>
          <a:lstStyle>
            <a:lvl1pPr marL="365757" indent="-365757">
              <a:buFont typeface="Lucida Grande"/>
              <a:buChar char="&gt;"/>
              <a:defRPr sz="2560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133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219188" indent="-243839">
              <a:buSzPct val="100000"/>
              <a:buFont typeface="Lucida Grande"/>
              <a:buChar char="&gt;"/>
              <a:defRPr sz="192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1707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194540" indent="-243839">
              <a:buFont typeface="Lucida Grande"/>
              <a:buChar char="&gt;"/>
              <a:defRPr sz="1495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>
              <a:defRPr baseline="0">
                <a:solidFill>
                  <a:schemeClr val="tx2"/>
                </a:solidFill>
              </a:defRPr>
            </a:lvl6pPr>
            <a:lvl7pPr>
              <a:defRPr baseline="0">
                <a:solidFill>
                  <a:schemeClr val="tx2"/>
                </a:solidFill>
              </a:defRPr>
            </a:lvl7pPr>
            <a:lvl9pPr>
              <a:defRPr/>
            </a:lvl9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, 20)</a:t>
            </a:r>
          </a:p>
          <a:p>
            <a:pPr lvl="2"/>
            <a:r>
              <a:rPr lang="en-US"/>
              <a:t>Third level (Open Sans, 18)</a:t>
            </a:r>
          </a:p>
          <a:p>
            <a:pPr lvl="3"/>
            <a:r>
              <a:rPr lang="en-US"/>
              <a:t>Fourth level (Open Sans, 16)</a:t>
            </a:r>
          </a:p>
          <a:p>
            <a:pPr lvl="4"/>
            <a:r>
              <a:rPr lang="en-US"/>
              <a:t>Fifth level (Open Sans, 14)</a:t>
            </a:r>
          </a:p>
        </p:txBody>
      </p:sp>
      <p:pic>
        <p:nvPicPr>
          <p:cNvPr id="8" name="Picture 7" descr="A close up of a logo&#10;&#10;Description automatically generated">
            <a:extLst>
              <a:ext uri="{FF2B5EF4-FFF2-40B4-BE49-F238E27FC236}">
                <a16:creationId xmlns:a16="http://schemas.microsoft.com/office/drawing/2014/main" id="{8BBE3CB1-85B5-4757-B841-BEA01AD58912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959851" y="6738123"/>
            <a:ext cx="2335316" cy="303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8695252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White_Content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FF5D961D-A110-46E3-9A8E-CD8C6D050B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0846" y="1235058"/>
            <a:ext cx="1569822" cy="137048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D31FDD31-55CC-498E-B380-86658AA9A7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9339" y="596897"/>
            <a:ext cx="11658118" cy="706685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pic>
        <p:nvPicPr>
          <p:cNvPr id="13" name="Picture 12" descr="A screenshot of a cell phone&#10;&#10;Description automatically generated">
            <a:extLst>
              <a:ext uri="{FF2B5EF4-FFF2-40B4-BE49-F238E27FC236}">
                <a16:creationId xmlns:a16="http://schemas.microsoft.com/office/drawing/2014/main" id="{C79536C7-D87B-41F2-87B1-CA35D625272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990816" y="6738111"/>
            <a:ext cx="2017759" cy="262366"/>
          </a:xfrm>
          <a:prstGeom prst="rect">
            <a:avLst/>
          </a:prstGeom>
        </p:spPr>
      </p:pic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3D6390A-DAED-4A47-B7D5-0C5D43422C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7049" y="1773194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2560" b="0" i="0" cap="all" baseline="0">
                <a:solidFill>
                  <a:schemeClr val="tx2"/>
                </a:solidFill>
                <a:latin typeface="Uni Sans Regular" charset="0"/>
                <a:ea typeface="Uni Sans Regular" charset="0"/>
                <a:cs typeface="Uni Sans Regular" charset="0"/>
              </a:defRPr>
            </a:lvl1pPr>
            <a:lvl2pPr marL="487675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35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3026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701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id="{0F563B1E-89A1-4FA3-9240-3D03D6F93CE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" y="6924610"/>
            <a:ext cx="821831" cy="390595"/>
          </a:xfrm>
          <a:prstGeom prst="rect">
            <a:avLst/>
          </a:prstGeom>
        </p:spPr>
        <p:txBody>
          <a:bodyPr/>
          <a:lstStyle>
            <a:lvl1pPr>
              <a:defRPr sz="1280">
                <a:solidFill>
                  <a:schemeClr val="tx2"/>
                </a:solidFill>
              </a:defRPr>
            </a:lvl1pPr>
          </a:lstStyle>
          <a:p>
            <a:fld id="{5FC2A098-C205-46C9-9A6D-EB2B2028999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B8E40DE9-6EB0-4F70-9A67-CE64F165993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339" y="2597312"/>
            <a:ext cx="11658118" cy="3202505"/>
          </a:xfrm>
          <a:prstGeom prst="rect">
            <a:avLst/>
          </a:prstGeom>
        </p:spPr>
        <p:txBody>
          <a:bodyPr/>
          <a:lstStyle>
            <a:lvl1pPr marL="365757" indent="-365757">
              <a:buFont typeface="Lucida Grande"/>
              <a:buChar char="&gt;"/>
              <a:defRPr sz="2560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133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219188" indent="-243839">
              <a:buSzPct val="100000"/>
              <a:buFont typeface="Lucida Grande"/>
              <a:buChar char="&gt;"/>
              <a:defRPr sz="192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1707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194540" indent="-243839">
              <a:buFont typeface="Lucida Grande"/>
              <a:buChar char="&gt;"/>
              <a:defRPr sz="1495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>
              <a:defRPr baseline="0">
                <a:solidFill>
                  <a:schemeClr val="tx2"/>
                </a:solidFill>
              </a:defRPr>
            </a:lvl6pPr>
            <a:lvl7pPr>
              <a:defRPr baseline="0">
                <a:solidFill>
                  <a:schemeClr val="tx2"/>
                </a:solidFill>
              </a:defRPr>
            </a:lvl7pPr>
            <a:lvl9pPr>
              <a:defRPr/>
            </a:lvl9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, 20)</a:t>
            </a:r>
          </a:p>
          <a:p>
            <a:pPr lvl="2"/>
            <a:r>
              <a:rPr lang="en-US"/>
              <a:t>Third level (Open Sans, 18)</a:t>
            </a:r>
          </a:p>
          <a:p>
            <a:pPr lvl="3"/>
            <a:r>
              <a:rPr lang="en-US"/>
              <a:t>Fourth level (Open Sans, 16)</a:t>
            </a:r>
          </a:p>
          <a:p>
            <a:pPr lvl="4"/>
            <a:r>
              <a:rPr lang="en-US"/>
              <a:t>Fifth level (Open Sans, 14)</a:t>
            </a:r>
          </a:p>
        </p:txBody>
      </p:sp>
      <p:pic>
        <p:nvPicPr>
          <p:cNvPr id="8" name="Picture 7" descr="A close up of a logo&#10;&#10;Description automatically generated">
            <a:extLst>
              <a:ext uri="{FF2B5EF4-FFF2-40B4-BE49-F238E27FC236}">
                <a16:creationId xmlns:a16="http://schemas.microsoft.com/office/drawing/2014/main" id="{8BBE3CB1-85B5-4757-B841-BEA01AD58912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959851" y="6738123"/>
            <a:ext cx="2335316" cy="303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3756587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White_Content Slide 3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FF5D961D-A110-46E3-9A8E-CD8C6D050B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0846" y="1235058"/>
            <a:ext cx="1569822" cy="137048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D31FDD31-55CC-498E-B380-86658AA9A7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9339" y="596897"/>
            <a:ext cx="11658118" cy="706685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pic>
        <p:nvPicPr>
          <p:cNvPr id="13" name="Picture 12" descr="A screenshot of a cell phone&#10;&#10;Description automatically generated">
            <a:extLst>
              <a:ext uri="{FF2B5EF4-FFF2-40B4-BE49-F238E27FC236}">
                <a16:creationId xmlns:a16="http://schemas.microsoft.com/office/drawing/2014/main" id="{C79536C7-D87B-41F2-87B1-CA35D625272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990816" y="6738111"/>
            <a:ext cx="2017759" cy="262366"/>
          </a:xfrm>
          <a:prstGeom prst="rect">
            <a:avLst/>
          </a:prstGeom>
        </p:spPr>
      </p:pic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3D6390A-DAED-4A47-B7D5-0C5D43422C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7049" y="1773194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2560" b="0" i="0" cap="all" baseline="0">
                <a:solidFill>
                  <a:schemeClr val="tx2"/>
                </a:solidFill>
                <a:latin typeface="Uni Sans Regular" charset="0"/>
                <a:ea typeface="Uni Sans Regular" charset="0"/>
                <a:cs typeface="Uni Sans Regular" charset="0"/>
              </a:defRPr>
            </a:lvl1pPr>
            <a:lvl2pPr marL="487675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35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3026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701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id="{0F563B1E-89A1-4FA3-9240-3D03D6F93CE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" y="6924610"/>
            <a:ext cx="821831" cy="390595"/>
          </a:xfrm>
          <a:prstGeom prst="rect">
            <a:avLst/>
          </a:prstGeom>
        </p:spPr>
        <p:txBody>
          <a:bodyPr/>
          <a:lstStyle>
            <a:lvl1pPr>
              <a:defRPr sz="1280">
                <a:solidFill>
                  <a:schemeClr val="tx2"/>
                </a:solidFill>
              </a:defRPr>
            </a:lvl1pPr>
          </a:lstStyle>
          <a:p>
            <a:fld id="{5FC2A098-C205-46C9-9A6D-EB2B2028999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B8E40DE9-6EB0-4F70-9A67-CE64F165993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339" y="2597312"/>
            <a:ext cx="11658118" cy="3202505"/>
          </a:xfrm>
          <a:prstGeom prst="rect">
            <a:avLst/>
          </a:prstGeom>
        </p:spPr>
        <p:txBody>
          <a:bodyPr/>
          <a:lstStyle>
            <a:lvl1pPr marL="365757" indent="-365757">
              <a:buFont typeface="Lucida Grande"/>
              <a:buChar char="&gt;"/>
              <a:defRPr sz="2560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133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219188" indent="-243839">
              <a:buSzPct val="100000"/>
              <a:buFont typeface="Lucida Grande"/>
              <a:buChar char="&gt;"/>
              <a:defRPr sz="192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1707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194540" indent="-243839">
              <a:buFont typeface="Lucida Grande"/>
              <a:buChar char="&gt;"/>
              <a:defRPr sz="1495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>
              <a:defRPr baseline="0">
                <a:solidFill>
                  <a:schemeClr val="tx2"/>
                </a:solidFill>
              </a:defRPr>
            </a:lvl6pPr>
            <a:lvl7pPr>
              <a:defRPr baseline="0">
                <a:solidFill>
                  <a:schemeClr val="tx2"/>
                </a:solidFill>
              </a:defRPr>
            </a:lvl7pPr>
            <a:lvl9pPr>
              <a:defRPr/>
            </a:lvl9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, 20)</a:t>
            </a:r>
          </a:p>
          <a:p>
            <a:pPr lvl="2"/>
            <a:r>
              <a:rPr lang="en-US"/>
              <a:t>Third level (Open Sans, 18)</a:t>
            </a:r>
          </a:p>
          <a:p>
            <a:pPr lvl="3"/>
            <a:r>
              <a:rPr lang="en-US"/>
              <a:t>Fourth level (Open Sans, 16)</a:t>
            </a:r>
          </a:p>
          <a:p>
            <a:pPr lvl="4"/>
            <a:r>
              <a:rPr lang="en-US"/>
              <a:t>Fifth level (Open Sans, 14)</a:t>
            </a:r>
          </a:p>
        </p:txBody>
      </p:sp>
    </p:spTree>
    <p:extLst>
      <p:ext uri="{BB962C8B-B14F-4D97-AF65-F5344CB8AC3E}">
        <p14:creationId xmlns:p14="http://schemas.microsoft.com/office/powerpoint/2010/main" val="496155113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hite_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8D8A2689-1CBE-4BFF-B995-6B7EC13B4ED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21832" y="3666008"/>
            <a:ext cx="1569822" cy="137048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051FDAEC-6032-4B1C-BB06-69B39C6E46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344" y="3009785"/>
            <a:ext cx="11658118" cy="706685"/>
          </a:xfrm>
          <a:prstGeom prst="rect">
            <a:avLst/>
          </a:prstGeom>
        </p:spPr>
        <p:txBody>
          <a:bodyPr anchor="b"/>
          <a:lstStyle>
            <a:lvl1pPr algn="l">
              <a:defRPr sz="3200" b="1" i="0" cap="none" baseline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Divider Slide</a:t>
            </a:r>
          </a:p>
        </p:txBody>
      </p:sp>
      <p:pic>
        <p:nvPicPr>
          <p:cNvPr id="9" name="Picture 8" descr="A screenshot of a cell phone&#10;&#10;Description automatically generated">
            <a:extLst>
              <a:ext uri="{FF2B5EF4-FFF2-40B4-BE49-F238E27FC236}">
                <a16:creationId xmlns:a16="http://schemas.microsoft.com/office/drawing/2014/main" id="{4CC1B0FC-921C-4371-A944-F6A14F655C8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990816" y="6738111"/>
            <a:ext cx="2017759" cy="262366"/>
          </a:xfrm>
          <a:prstGeom prst="rect">
            <a:avLst/>
          </a:prstGeom>
        </p:spPr>
      </p:pic>
      <p:pic>
        <p:nvPicPr>
          <p:cNvPr id="6" name="Picture 5" descr="A close up of a logo&#10;&#10;Description automatically generated">
            <a:extLst>
              <a:ext uri="{FF2B5EF4-FFF2-40B4-BE49-F238E27FC236}">
                <a16:creationId xmlns:a16="http://schemas.microsoft.com/office/drawing/2014/main" id="{EDCDF131-7513-40D8-96A4-52EDD98C0A1E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959851" y="6738123"/>
            <a:ext cx="2335316" cy="303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78394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White_Title Slide 1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black and white photo of a building&#10;&#10;Description automatically generated">
            <a:extLst>
              <a:ext uri="{FF2B5EF4-FFF2-40B4-BE49-F238E27FC236}">
                <a16:creationId xmlns:a16="http://schemas.microsoft.com/office/drawing/2014/main" id="{91403BB8-FE22-414F-A7DC-5173D93AB0F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5743"/>
          <a:stretch/>
        </p:blipFill>
        <p:spPr>
          <a:xfrm>
            <a:off x="0" y="0"/>
            <a:ext cx="13022990" cy="73152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97842081-A822-4595-A3C9-CE9A74968A55}"/>
              </a:ext>
            </a:extLst>
          </p:cNvPr>
          <p:cNvSpPr/>
          <p:nvPr userDrawn="1"/>
        </p:nvSpPr>
        <p:spPr>
          <a:xfrm>
            <a:off x="2" y="0"/>
            <a:ext cx="13041180" cy="7315200"/>
          </a:xfrm>
          <a:prstGeom prst="rect">
            <a:avLst/>
          </a:prstGeom>
          <a:solidFill>
            <a:schemeClr val="bg2">
              <a:alpha val="76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27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B6A24A3-2469-4535-BF17-D9151C7F0BA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07937" y="4873175"/>
            <a:ext cx="2275840" cy="198684"/>
          </a:xfrm>
          <a:prstGeom prst="rect">
            <a:avLst/>
          </a:prstGeom>
        </p:spPr>
      </p:pic>
      <p:pic>
        <p:nvPicPr>
          <p:cNvPr id="12" name="Picture 11" descr="A screenshot of a cell phone&#10;&#10;Description automatically generated">
            <a:extLst>
              <a:ext uri="{FF2B5EF4-FFF2-40B4-BE49-F238E27FC236}">
                <a16:creationId xmlns:a16="http://schemas.microsoft.com/office/drawing/2014/main" id="{5D54573B-D5B6-4023-A486-E86DF7872F5A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389525" y="6249614"/>
            <a:ext cx="2993847" cy="727229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A7C40198-6921-470E-8BB0-E8DA1FC2A5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4755" y="917326"/>
            <a:ext cx="9989035" cy="3757164"/>
          </a:xfrm>
          <a:prstGeom prst="rect">
            <a:avLst/>
          </a:prstGeom>
        </p:spPr>
        <p:txBody>
          <a:bodyPr anchor="b"/>
          <a:lstStyle>
            <a:lvl1pPr algn="l">
              <a:defRPr sz="5333" b="1" i="0" cap="all" baseline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UWFT PPT TEMPLATE</a:t>
            </a:r>
          </a:p>
        </p:txBody>
      </p:sp>
    </p:spTree>
    <p:extLst>
      <p:ext uri="{BB962C8B-B14F-4D97-AF65-F5344CB8AC3E}">
        <p14:creationId xmlns:p14="http://schemas.microsoft.com/office/powerpoint/2010/main" val="3736670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White_Content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FF5D961D-A110-46E3-9A8E-CD8C6D050B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0846" y="1235056"/>
            <a:ext cx="1569822" cy="137048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D31FDD31-55CC-498E-B380-86658AA9A7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9336" y="596898"/>
            <a:ext cx="11658118" cy="706685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pic>
        <p:nvPicPr>
          <p:cNvPr id="13" name="Picture 12" descr="A screenshot of a cell phone&#10;&#10;Description automatically generated">
            <a:extLst>
              <a:ext uri="{FF2B5EF4-FFF2-40B4-BE49-F238E27FC236}">
                <a16:creationId xmlns:a16="http://schemas.microsoft.com/office/drawing/2014/main" id="{C79536C7-D87B-41F2-87B1-CA35D625272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990818" y="6738111"/>
            <a:ext cx="2017759" cy="262366"/>
          </a:xfrm>
          <a:prstGeom prst="rect">
            <a:avLst/>
          </a:prstGeom>
        </p:spPr>
      </p:pic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3D6390A-DAED-4A47-B7D5-0C5D43422C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7049" y="1773196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2560" b="0" i="0" cap="all" baseline="0">
                <a:solidFill>
                  <a:schemeClr val="tx2"/>
                </a:solidFill>
                <a:latin typeface="Uni Sans Regular" charset="0"/>
                <a:ea typeface="Uni Sans Regular" charset="0"/>
                <a:cs typeface="Uni Sans Regular" charset="0"/>
              </a:defRPr>
            </a:lvl1pPr>
            <a:lvl2pPr marL="487624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247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2871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493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id="{0F563B1E-89A1-4FA3-9240-3D03D6F93CE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" y="6924611"/>
            <a:ext cx="821831" cy="390595"/>
          </a:xfrm>
          <a:prstGeom prst="rect">
            <a:avLst/>
          </a:prstGeom>
        </p:spPr>
        <p:txBody>
          <a:bodyPr/>
          <a:lstStyle>
            <a:lvl1pPr>
              <a:defRPr sz="1280">
                <a:solidFill>
                  <a:schemeClr val="tx2"/>
                </a:solidFill>
              </a:defRPr>
            </a:lvl1pPr>
          </a:lstStyle>
          <a:p>
            <a:fld id="{5FC2A098-C205-46C9-9A6D-EB2B2028999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B8E40DE9-6EB0-4F70-9A67-CE64F165993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336" y="2597315"/>
            <a:ext cx="11658118" cy="3202505"/>
          </a:xfrm>
          <a:prstGeom prst="rect">
            <a:avLst/>
          </a:prstGeom>
        </p:spPr>
        <p:txBody>
          <a:bodyPr/>
          <a:lstStyle>
            <a:lvl1pPr marL="365719" indent="-365719">
              <a:buFont typeface="Lucida Grande"/>
              <a:buChar char="&gt;"/>
              <a:defRPr sz="2133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192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219060" indent="-243812">
              <a:buSzPct val="100000"/>
              <a:buFont typeface="Lucida Grande"/>
              <a:buChar char="&gt;"/>
              <a:defRPr sz="1707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1493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194302" indent="-243812">
              <a:buFont typeface="Lucida Grande"/>
              <a:buChar char="&gt;"/>
              <a:defRPr sz="128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>
              <a:defRPr baseline="0">
                <a:solidFill>
                  <a:schemeClr val="tx2"/>
                </a:solidFill>
              </a:defRPr>
            </a:lvl6pPr>
            <a:lvl7pPr>
              <a:defRPr baseline="0">
                <a:solidFill>
                  <a:schemeClr val="tx2"/>
                </a:solidFill>
              </a:defRPr>
            </a:lvl7pPr>
            <a:lvl9pPr>
              <a:defRPr/>
            </a:lvl9pPr>
          </a:lstStyle>
          <a:p>
            <a:pPr lvl="0"/>
            <a:r>
              <a:rPr lang="en-US"/>
              <a:t>Content here (Open Sans Bold, 20 pt.)</a:t>
            </a:r>
          </a:p>
          <a:p>
            <a:pPr lvl="1"/>
            <a:r>
              <a:rPr lang="en-US"/>
              <a:t>Second level (Open Sans, 18)</a:t>
            </a:r>
          </a:p>
          <a:p>
            <a:pPr lvl="2"/>
            <a:r>
              <a:rPr lang="en-US"/>
              <a:t>Third level (Open Sans, 16)</a:t>
            </a:r>
          </a:p>
          <a:p>
            <a:pPr lvl="3"/>
            <a:r>
              <a:rPr lang="en-US"/>
              <a:t>Fourth level (Open Sans, 14)</a:t>
            </a:r>
          </a:p>
          <a:p>
            <a:pPr lvl="4"/>
            <a:r>
              <a:rPr lang="en-US"/>
              <a:t>Fifth level (Open Sans, 12)</a:t>
            </a:r>
          </a:p>
        </p:txBody>
      </p:sp>
      <p:pic>
        <p:nvPicPr>
          <p:cNvPr id="8" name="Picture 7" descr="A close up of a logo&#10;&#10;Description automatically generated">
            <a:extLst>
              <a:ext uri="{FF2B5EF4-FFF2-40B4-BE49-F238E27FC236}">
                <a16:creationId xmlns:a16="http://schemas.microsoft.com/office/drawing/2014/main" id="{8BBE3CB1-85B5-4757-B841-BEA01AD58912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959853" y="6738124"/>
            <a:ext cx="2335316" cy="303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56264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Header and Content w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10">
            <a:extLst>
              <a:ext uri="{FF2B5EF4-FFF2-40B4-BE49-F238E27FC236}">
                <a16:creationId xmlns:a16="http://schemas.microsoft.com/office/drawing/2014/main" id="{A2ED9C39-E899-4AC0-8CCE-662F985473A4}"/>
              </a:ext>
            </a:extLst>
          </p:cNvPr>
          <p:cNvSpPr txBox="1">
            <a:spLocks/>
          </p:cNvSpPr>
          <p:nvPr userDrawn="1"/>
        </p:nvSpPr>
        <p:spPr>
          <a:xfrm>
            <a:off x="261840" y="6727693"/>
            <a:ext cx="453426" cy="389467"/>
          </a:xfrm>
          <a:prstGeom prst="rect">
            <a:avLst/>
          </a:prstGeom>
        </p:spPr>
        <p:txBody>
          <a:bodyPr vert="horz" lIns="97536" tIns="48768" rIns="97536" bIns="48768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876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DA41B0-E16D-48B4-8B5D-6BC89192C442}" type="slidenum">
              <a:rPr kumimoji="0" lang="en-US" sz="1280" b="0" i="0" u="none" strike="noStrike" kern="1200" cap="none" spc="0" normalizeH="0" baseline="0" noProof="0" smtClean="0">
                <a:ln>
                  <a:noFill/>
                </a:ln>
                <a:solidFill>
                  <a:srgbClr val="33006F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76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80" b="0" i="0" u="none" strike="noStrike" kern="1200" cap="none" spc="0" normalizeH="0" baseline="0" noProof="0" dirty="0">
              <a:ln>
                <a:noFill/>
              </a:ln>
              <a:solidFill>
                <a:srgbClr val="33006F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715265" y="320612"/>
            <a:ext cx="11481381" cy="571942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(ENCODE NORMAL BLACK, 30 PT.)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15265" y="892554"/>
            <a:ext cx="1177366" cy="102787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A8B02F48-3E6F-4547-AF06-A81D40B639E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15401" y="6586003"/>
            <a:ext cx="3381247" cy="442406"/>
          </a:xfrm>
          <a:prstGeom prst="rect">
            <a:avLst/>
          </a:prstGeom>
        </p:spPr>
      </p:pic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60C8692A-3266-4835-A694-F786994C32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5265" y="1084392"/>
            <a:ext cx="11481381" cy="5336306"/>
          </a:xfrm>
          <a:prstGeom prst="rect">
            <a:avLst/>
          </a:prstGeom>
        </p:spPr>
        <p:txBody>
          <a:bodyPr/>
          <a:lstStyle>
            <a:lvl1pPr marL="365774" indent="-365774">
              <a:buFont typeface="Lucida Grande"/>
              <a:buChar char="&gt;"/>
              <a:defRPr sz="2560" b="1" i="0" baseline="0">
                <a:solidFill>
                  <a:schemeClr val="tx1"/>
                </a:solidFill>
                <a:latin typeface="Open Sans"/>
                <a:cs typeface="Open Sans"/>
              </a:defRPr>
            </a:lvl1pPr>
            <a:lvl2pPr>
              <a:defRPr sz="2133" b="1" i="0" baseline="0">
                <a:solidFill>
                  <a:schemeClr val="tx1"/>
                </a:solidFill>
                <a:latin typeface="Open Sans"/>
                <a:cs typeface="Open Sans"/>
              </a:defRPr>
            </a:lvl2pPr>
            <a:lvl3pPr marL="1219246" indent="-243850">
              <a:buSzPct val="100000"/>
              <a:buFont typeface="Lucida Grande"/>
              <a:buChar char="&gt;"/>
              <a:defRPr sz="1920" b="1" i="0" baseline="0">
                <a:solidFill>
                  <a:schemeClr val="tx1"/>
                </a:solidFill>
                <a:latin typeface="Open Sans"/>
                <a:cs typeface="Open Sans"/>
              </a:defRPr>
            </a:lvl3pPr>
            <a:lvl4pPr>
              <a:defRPr sz="1707" b="1" i="0" baseline="0">
                <a:solidFill>
                  <a:schemeClr val="tx1"/>
                </a:solidFill>
                <a:latin typeface="Open Sans"/>
                <a:cs typeface="Open Sans"/>
              </a:defRPr>
            </a:lvl4pPr>
            <a:lvl5pPr marL="2194644" indent="-243850">
              <a:buFont typeface="Lucida Grande"/>
              <a:buChar char="&gt;"/>
              <a:defRPr sz="1493" b="1" i="0" baseline="0">
                <a:solidFill>
                  <a:schemeClr val="tx1"/>
                </a:solidFill>
                <a:latin typeface="Open Sans"/>
                <a:cs typeface="Open Sans"/>
              </a:defRPr>
            </a:lvl5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 Bold, 20)</a:t>
            </a:r>
          </a:p>
          <a:p>
            <a:pPr lvl="2"/>
            <a:r>
              <a:rPr lang="en-US"/>
              <a:t>Third level (Open Sans Bold, 18)</a:t>
            </a:r>
          </a:p>
          <a:p>
            <a:pPr lvl="3"/>
            <a:r>
              <a:rPr lang="en-US"/>
              <a:t>Fourth level (Open Sans Bold, 16)</a:t>
            </a:r>
          </a:p>
          <a:p>
            <a:pPr lvl="4"/>
            <a:r>
              <a:rPr lang="en-US"/>
              <a:t>Fifth level (Open Sans Bold, 14)</a:t>
            </a:r>
          </a:p>
        </p:txBody>
      </p:sp>
    </p:spTree>
    <p:extLst>
      <p:ext uri="{BB962C8B-B14F-4D97-AF65-F5344CB8AC3E}">
        <p14:creationId xmlns:p14="http://schemas.microsoft.com/office/powerpoint/2010/main" val="2413847871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E968516-223E-48D2-BE13-88A96C431C8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704" y="1704"/>
          <a:ext cx="1692" cy="16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24" imgH="526" progId="TCLayout.ActiveDocument.1">
                  <p:embed/>
                </p:oleObj>
              </mc:Choice>
              <mc:Fallback>
                <p:oleObj name="think-cell Slide" r:id="rId3" imgW="524" imgH="5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E968516-223E-48D2-BE13-88A96C431C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704" y="1704"/>
                        <a:ext cx="1692" cy="169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713441" y="396284"/>
            <a:ext cx="11640410" cy="47701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None/>
              <a:defRPr sz="2401" b="0" i="0" baseline="0">
                <a:solidFill>
                  <a:srgbClr val="33006F"/>
                </a:solidFill>
                <a:latin typeface="Encode Sans Normal Black" panose="02000000000000000000" pitchFamily="2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36574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731479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097219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462957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HEADER HERE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695727" y="1100118"/>
            <a:ext cx="11656832" cy="5417556"/>
          </a:xfrm>
          <a:prstGeom prst="rect">
            <a:avLst/>
          </a:prstGeom>
        </p:spPr>
        <p:txBody>
          <a:bodyPr/>
          <a:lstStyle>
            <a:lvl1pPr marL="274304" indent="-274304">
              <a:buFont typeface="Lucida Grande"/>
              <a:buChar char="&gt;"/>
              <a:defRPr sz="1920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 sz="1600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914348" indent="-182871">
              <a:buSzPct val="100000"/>
              <a:buFont typeface="Lucida Grande"/>
              <a:buChar char="&gt;"/>
              <a:defRPr sz="1441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>
              <a:defRPr sz="1280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645827" indent="-182871">
              <a:buFont typeface="Lucida Grande"/>
              <a:buChar char="&gt;"/>
              <a:defRPr sz="1121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US"/>
              <a:t>Bulleted content here (Calibri Regular, 24 pt.)</a:t>
            </a:r>
          </a:p>
          <a:p>
            <a:pPr lvl="1"/>
            <a:r>
              <a:rPr lang="en-US"/>
              <a:t>Second level (Calibri Regular, 20)</a:t>
            </a:r>
          </a:p>
          <a:p>
            <a:pPr lvl="2"/>
            <a:r>
              <a:rPr lang="en-US"/>
              <a:t>Third level (Calibri Regular, 18)</a:t>
            </a:r>
          </a:p>
          <a:p>
            <a:pPr lvl="3"/>
            <a:r>
              <a:rPr lang="en-US"/>
              <a:t>Fourth level (Calibri Regular, 16)</a:t>
            </a:r>
          </a:p>
          <a:p>
            <a:pPr lvl="4"/>
            <a:r>
              <a:rPr lang="en-US"/>
              <a:t>Fifth level (Calibri Regular, 14)</a:t>
            </a:r>
          </a:p>
        </p:txBody>
      </p:sp>
      <p:sp>
        <p:nvSpPr>
          <p:cNvPr id="12" name="Slide Number Placeholder 10">
            <a:extLst>
              <a:ext uri="{FF2B5EF4-FFF2-40B4-BE49-F238E27FC236}">
                <a16:creationId xmlns:a16="http://schemas.microsoft.com/office/drawing/2014/main" id="{A2ED9C39-E899-4AC0-8CCE-662F985473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78178" y="6922436"/>
            <a:ext cx="453427" cy="38946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6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CDA41B0-E16D-48B4-8B5D-6BC89192C442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DAA379F-56FD-4016-8B55-9764BFAF57C5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702467" y="910019"/>
            <a:ext cx="1569823" cy="102787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D6FE8817-C42B-4281-9674-BA43D9D4ED6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23223" y="6722973"/>
            <a:ext cx="3606663" cy="471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3675688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Head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15403" y="6586005"/>
            <a:ext cx="3381247" cy="442406"/>
          </a:xfrm>
          <a:prstGeom prst="rect">
            <a:avLst/>
          </a:prstGeom>
        </p:spPr>
      </p:pic>
      <p:sp>
        <p:nvSpPr>
          <p:cNvPr id="14" name="Slide Number Placeholder 10">
            <a:extLst>
              <a:ext uri="{FF2B5EF4-FFF2-40B4-BE49-F238E27FC236}">
                <a16:creationId xmlns:a16="http://schemas.microsoft.com/office/drawing/2014/main" id="{A2ED9C39-E899-4AC0-8CCE-662F985473A4}"/>
              </a:ext>
            </a:extLst>
          </p:cNvPr>
          <p:cNvSpPr txBox="1">
            <a:spLocks/>
          </p:cNvSpPr>
          <p:nvPr/>
        </p:nvSpPr>
        <p:spPr>
          <a:xfrm>
            <a:off x="261843" y="6727693"/>
            <a:ext cx="453426" cy="389467"/>
          </a:xfrm>
          <a:prstGeom prst="rect">
            <a:avLst/>
          </a:prstGeom>
        </p:spPr>
        <p:txBody>
          <a:bodyPr vert="horz" lIns="97536" tIns="48768" rIns="97536" bIns="48768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876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DA41B0-E16D-48B4-8B5D-6BC89192C442}" type="slidenum">
              <a:rPr kumimoji="0" lang="en-US" sz="1280" b="0" i="0" u="none" strike="noStrike" kern="1200" cap="none" spc="0" normalizeH="0" baseline="0" noProof="0" smtClean="0">
                <a:ln>
                  <a:noFill/>
                </a:ln>
                <a:solidFill>
                  <a:srgbClr val="33006F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76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80" b="0" i="0" u="none" strike="noStrike" kern="1200" cap="none" spc="0" normalizeH="0" baseline="0" noProof="0">
              <a:ln>
                <a:noFill/>
              </a:ln>
              <a:solidFill>
                <a:srgbClr val="33006F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15265" y="562931"/>
            <a:ext cx="11481381" cy="571942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(ENCODE NORMAL BLACK, 30 PT.)</a:t>
            </a: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5264" y="1237659"/>
            <a:ext cx="1177367" cy="1027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881924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r_RtAngle_7502_RGB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7112" y="4273162"/>
            <a:ext cx="3248786" cy="120289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955388" y="1244934"/>
            <a:ext cx="9916160" cy="2817873"/>
          </a:xfrm>
          <a:prstGeom prst="rect">
            <a:avLst/>
          </a:prstGeom>
        </p:spPr>
        <p:txBody>
          <a:bodyPr anchor="b"/>
          <a:lstStyle>
            <a:lvl1pPr algn="l">
              <a:defRPr sz="5336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TITLE HERE</a:t>
            </a:r>
            <a:br>
              <a:rPr lang="en-US"/>
            </a:br>
            <a:r>
              <a:rPr lang="en-US"/>
              <a:t>ENCODE NORMAL</a:t>
            </a:r>
            <a:br>
              <a:rPr lang="en-US"/>
            </a:br>
            <a:r>
              <a:rPr lang="en-US"/>
              <a:t>BLACK, 50 PT. 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70086" y="6319996"/>
            <a:ext cx="4689028" cy="6135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10380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White_Content Slide 3_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FF5D961D-A110-46E3-9A8E-CD8C6D050B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0846" y="1235055"/>
            <a:ext cx="1569822" cy="137048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D31FDD31-55CC-498E-B380-86658AA9A7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9336" y="596894"/>
            <a:ext cx="11658118" cy="706685"/>
          </a:xfrm>
          <a:prstGeom prst="rect">
            <a:avLst/>
          </a:prstGeom>
        </p:spPr>
        <p:txBody>
          <a:bodyPr anchor="b"/>
          <a:lstStyle>
            <a:lvl1pPr algn="l">
              <a:defRPr sz="4267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3D6390A-DAED-4A47-B7D5-0C5D43422C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7048" y="1773194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3413" b="0" i="0" cap="all" baseline="0">
                <a:solidFill>
                  <a:schemeClr val="tx2"/>
                </a:solidFill>
                <a:latin typeface="Uni Sans Regular" charset="0"/>
                <a:ea typeface="Uni Sans Regular" charset="0"/>
                <a:cs typeface="Uni Sans Regular" charset="0"/>
              </a:defRPr>
            </a:lvl1pPr>
            <a:lvl2pPr marL="650214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1300428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950641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2600854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id="{0F563B1E-89A1-4FA3-9240-3D03D6F93CE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" y="6924607"/>
            <a:ext cx="821831" cy="390595"/>
          </a:xfrm>
          <a:prstGeom prst="rect">
            <a:avLst/>
          </a:prstGeom>
        </p:spPr>
        <p:txBody>
          <a:bodyPr/>
          <a:lstStyle>
            <a:lvl1pPr>
              <a:defRPr sz="1707">
                <a:solidFill>
                  <a:schemeClr val="tx2"/>
                </a:solidFill>
              </a:defRPr>
            </a:lvl1pPr>
          </a:lstStyle>
          <a:p>
            <a:fld id="{5FC2A098-C205-46C9-9A6D-EB2B2028999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B8E40DE9-6EB0-4F70-9A67-CE64F165993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336" y="2597311"/>
            <a:ext cx="11658118" cy="3202505"/>
          </a:xfrm>
          <a:prstGeom prst="rect">
            <a:avLst/>
          </a:prstGeom>
        </p:spPr>
        <p:txBody>
          <a:bodyPr/>
          <a:lstStyle>
            <a:lvl1pPr marL="487661" indent="-487661">
              <a:buFont typeface="Lucida Grande"/>
              <a:buChar char="&gt;"/>
              <a:defRPr sz="3413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844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625535" indent="-325106">
              <a:buSzPct val="100000"/>
              <a:buFont typeface="Lucida Grande"/>
              <a:buChar char="&gt;"/>
              <a:defRPr sz="256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2276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925960" indent="-325106">
              <a:buFont typeface="Lucida Grande"/>
              <a:buChar char="&gt;"/>
              <a:defRPr sz="1991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>
              <a:defRPr baseline="0">
                <a:solidFill>
                  <a:schemeClr val="tx2"/>
                </a:solidFill>
              </a:defRPr>
            </a:lvl6pPr>
            <a:lvl7pPr>
              <a:defRPr baseline="0">
                <a:solidFill>
                  <a:schemeClr val="tx2"/>
                </a:solidFill>
              </a:defRPr>
            </a:lvl7pPr>
            <a:lvl9pPr>
              <a:defRPr/>
            </a:lvl9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, 20)</a:t>
            </a:r>
          </a:p>
          <a:p>
            <a:pPr lvl="2"/>
            <a:r>
              <a:rPr lang="en-US"/>
              <a:t>Third level (Open Sans, 18)</a:t>
            </a:r>
          </a:p>
          <a:p>
            <a:pPr lvl="3"/>
            <a:r>
              <a:rPr lang="en-US"/>
              <a:t>Fourth level (Open Sans, 16)</a:t>
            </a:r>
          </a:p>
          <a:p>
            <a:pPr lvl="4"/>
            <a:r>
              <a:rPr lang="en-US"/>
              <a:t>Fifth level (Open Sans, 14)</a:t>
            </a:r>
          </a:p>
        </p:txBody>
      </p:sp>
    </p:spTree>
    <p:extLst>
      <p:ext uri="{BB962C8B-B14F-4D97-AF65-F5344CB8AC3E}">
        <p14:creationId xmlns:p14="http://schemas.microsoft.com/office/powerpoint/2010/main" val="3008228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White_Content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FF5D961D-A110-46E3-9A8E-CD8C6D050B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0846" y="1235056"/>
            <a:ext cx="1569822" cy="137048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D31FDD31-55CC-498E-B380-86658AA9A7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9336" y="596897"/>
            <a:ext cx="11658118" cy="706685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pic>
        <p:nvPicPr>
          <p:cNvPr id="13" name="Picture 12" descr="A screenshot of a cell phone&#10;&#10;Description automatically generated">
            <a:extLst>
              <a:ext uri="{FF2B5EF4-FFF2-40B4-BE49-F238E27FC236}">
                <a16:creationId xmlns:a16="http://schemas.microsoft.com/office/drawing/2014/main" id="{C79536C7-D87B-41F2-87B1-CA35D625272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990816" y="6738111"/>
            <a:ext cx="2017759" cy="262366"/>
          </a:xfrm>
          <a:prstGeom prst="rect">
            <a:avLst/>
          </a:prstGeom>
        </p:spPr>
      </p:pic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3D6390A-DAED-4A47-B7D5-0C5D43422C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7049" y="1773196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2560" b="0" i="0" cap="all" baseline="0">
                <a:solidFill>
                  <a:schemeClr val="tx2"/>
                </a:solidFill>
                <a:latin typeface="Uni Sans Regular" charset="0"/>
                <a:ea typeface="Uni Sans Regular" charset="0"/>
                <a:cs typeface="Uni Sans Regular" charset="0"/>
              </a:defRPr>
            </a:lvl1pPr>
            <a:lvl2pPr marL="487637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271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2906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54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id="{0F563B1E-89A1-4FA3-9240-3D03D6F93CE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" y="6924610"/>
            <a:ext cx="821831" cy="390595"/>
          </a:xfrm>
          <a:prstGeom prst="rect">
            <a:avLst/>
          </a:prstGeom>
        </p:spPr>
        <p:txBody>
          <a:bodyPr/>
          <a:lstStyle>
            <a:lvl1pPr>
              <a:defRPr sz="1280">
                <a:solidFill>
                  <a:schemeClr val="tx2"/>
                </a:solidFill>
              </a:defRPr>
            </a:lvl1pPr>
          </a:lstStyle>
          <a:p>
            <a:fld id="{5FC2A098-C205-46C9-9A6D-EB2B2028999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B8E40DE9-6EB0-4F70-9A67-CE64F165993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336" y="2597314"/>
            <a:ext cx="11658118" cy="3202505"/>
          </a:xfrm>
          <a:prstGeom prst="rect">
            <a:avLst/>
          </a:prstGeom>
        </p:spPr>
        <p:txBody>
          <a:bodyPr/>
          <a:lstStyle>
            <a:lvl1pPr marL="365727" indent="-365727">
              <a:buFont typeface="Lucida Grande"/>
              <a:buChar char="&gt;"/>
              <a:defRPr sz="2133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192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219090" indent="-243818">
              <a:buSzPct val="100000"/>
              <a:buFont typeface="Lucida Grande"/>
              <a:buChar char="&gt;"/>
              <a:defRPr sz="1707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1493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194358" indent="-243818">
              <a:buFont typeface="Lucida Grande"/>
              <a:buChar char="&gt;"/>
              <a:defRPr sz="128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>
              <a:defRPr baseline="0">
                <a:solidFill>
                  <a:schemeClr val="tx2"/>
                </a:solidFill>
              </a:defRPr>
            </a:lvl6pPr>
            <a:lvl7pPr>
              <a:defRPr baseline="0">
                <a:solidFill>
                  <a:schemeClr val="tx2"/>
                </a:solidFill>
              </a:defRPr>
            </a:lvl7pPr>
            <a:lvl9pPr>
              <a:defRPr/>
            </a:lvl9pPr>
          </a:lstStyle>
          <a:p>
            <a:pPr lvl="0"/>
            <a:r>
              <a:rPr lang="en-US"/>
              <a:t>Content here (Open Sans Bold, 20 pt.)</a:t>
            </a:r>
          </a:p>
          <a:p>
            <a:pPr lvl="1"/>
            <a:r>
              <a:rPr lang="en-US"/>
              <a:t>Second level (Open Sans, 18)</a:t>
            </a:r>
          </a:p>
          <a:p>
            <a:pPr lvl="2"/>
            <a:r>
              <a:rPr lang="en-US"/>
              <a:t>Third level (Open Sans, 16)</a:t>
            </a:r>
          </a:p>
          <a:p>
            <a:pPr lvl="3"/>
            <a:r>
              <a:rPr lang="en-US"/>
              <a:t>Fourth level (Open Sans, 14)</a:t>
            </a:r>
          </a:p>
          <a:p>
            <a:pPr lvl="4"/>
            <a:r>
              <a:rPr lang="en-US"/>
              <a:t>Fifth level (Open Sans, 12)</a:t>
            </a:r>
          </a:p>
        </p:txBody>
      </p:sp>
      <p:pic>
        <p:nvPicPr>
          <p:cNvPr id="8" name="Picture 7" descr="A close up of a logo&#10;&#10;Description automatically generated">
            <a:extLst>
              <a:ext uri="{FF2B5EF4-FFF2-40B4-BE49-F238E27FC236}">
                <a16:creationId xmlns:a16="http://schemas.microsoft.com/office/drawing/2014/main" id="{8BBE3CB1-85B5-4757-B841-BEA01AD58912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959851" y="6738123"/>
            <a:ext cx="2335316" cy="303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16767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hite_Graphic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D35B8508-C281-42AF-AC76-3B09D0C085B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0846" y="1235056"/>
            <a:ext cx="1569822" cy="137048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B7C326E5-7F62-42C5-9B7A-AA562D0025E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9336" y="596897"/>
            <a:ext cx="11658118" cy="706685"/>
          </a:xfrm>
          <a:prstGeom prst="rect">
            <a:avLst/>
          </a:prstGeom>
        </p:spPr>
        <p:txBody>
          <a:bodyPr anchor="b"/>
          <a:lstStyle>
            <a:lvl1pPr algn="l">
              <a:defRPr sz="3200" b="1" i="0" cap="all" baseline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pic>
        <p:nvPicPr>
          <p:cNvPr id="12" name="Picture 11" descr="A screenshot of a cell phone&#10;&#10;Description automatically generated">
            <a:extLst>
              <a:ext uri="{FF2B5EF4-FFF2-40B4-BE49-F238E27FC236}">
                <a16:creationId xmlns:a16="http://schemas.microsoft.com/office/drawing/2014/main" id="{74C8CCF3-BF2E-43C5-B7BC-939E28D5D39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990816" y="6738111"/>
            <a:ext cx="2017759" cy="262366"/>
          </a:xfrm>
          <a:prstGeom prst="rect">
            <a:avLst/>
          </a:prstGeom>
        </p:spPr>
      </p:pic>
      <p:sp>
        <p:nvSpPr>
          <p:cNvPr id="13" name="Chart Placeholder 11">
            <a:extLst>
              <a:ext uri="{FF2B5EF4-FFF2-40B4-BE49-F238E27FC236}">
                <a16:creationId xmlns:a16="http://schemas.microsoft.com/office/drawing/2014/main" id="{EFCD498D-D419-4FB2-BEE1-70FFC1BC9D72}"/>
              </a:ext>
            </a:extLst>
          </p:cNvPr>
          <p:cNvSpPr>
            <a:spLocks noGrp="1"/>
          </p:cNvSpPr>
          <p:nvPr>
            <p:ph type="chart" sz="quarter" idx="12" hasCustomPrompt="1"/>
          </p:nvPr>
        </p:nvSpPr>
        <p:spPr>
          <a:xfrm>
            <a:off x="654756" y="1557442"/>
            <a:ext cx="11640408" cy="506107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560" b="0" i="1" baseline="0">
                <a:solidFill>
                  <a:schemeClr val="tx2"/>
                </a:solidFill>
                <a:latin typeface="Open Sans Light"/>
                <a:cs typeface="Open Sans Light"/>
              </a:defRPr>
            </a:lvl1pPr>
          </a:lstStyle>
          <a:p>
            <a:r>
              <a:rPr lang="en-US"/>
              <a:t>Graphics can go here – </a:t>
            </a:r>
            <a:br>
              <a:rPr lang="en-US"/>
            </a:br>
            <a:r>
              <a:rPr lang="en-US"/>
              <a:t>replace this box with your image or chart</a:t>
            </a:r>
          </a:p>
        </p:txBody>
      </p:sp>
      <p:sp>
        <p:nvSpPr>
          <p:cNvPr id="14" name="Slide Number Placeholder 2">
            <a:extLst>
              <a:ext uri="{FF2B5EF4-FFF2-40B4-BE49-F238E27FC236}">
                <a16:creationId xmlns:a16="http://schemas.microsoft.com/office/drawing/2014/main" id="{914D78C1-0F41-4F95-9D1C-C374193F1AE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" y="6924610"/>
            <a:ext cx="821831" cy="390595"/>
          </a:xfrm>
          <a:prstGeom prst="rect">
            <a:avLst/>
          </a:prstGeom>
        </p:spPr>
        <p:txBody>
          <a:bodyPr/>
          <a:lstStyle>
            <a:lvl1pPr>
              <a:defRPr sz="1280">
                <a:solidFill>
                  <a:schemeClr val="tx2"/>
                </a:solidFill>
              </a:defRPr>
            </a:lvl1pPr>
          </a:lstStyle>
          <a:p>
            <a:fld id="{5FC2A098-C205-46C9-9A6D-EB2B2028999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Picture 6" descr="A close up of a logo&#10;&#10;Description automatically generated">
            <a:extLst>
              <a:ext uri="{FF2B5EF4-FFF2-40B4-BE49-F238E27FC236}">
                <a16:creationId xmlns:a16="http://schemas.microsoft.com/office/drawing/2014/main" id="{7B319BCE-D145-41FD-8BCA-7837AFF50AF9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959851" y="6738123"/>
            <a:ext cx="2335316" cy="303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1843954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E968516-223E-48D2-BE13-88A96C431C8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704" y="1704"/>
          <a:ext cx="1692" cy="16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24" imgH="526" progId="TCLayout.ActiveDocument.1">
                  <p:embed/>
                </p:oleObj>
              </mc:Choice>
              <mc:Fallback>
                <p:oleObj name="think-cell Slide" r:id="rId3" imgW="524" imgH="5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E968516-223E-48D2-BE13-88A96C431C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704" y="1704"/>
                        <a:ext cx="1692" cy="169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713441" y="396283"/>
            <a:ext cx="11640410" cy="47701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None/>
              <a:defRPr sz="2401" b="0" i="0" baseline="0">
                <a:solidFill>
                  <a:srgbClr val="33006F"/>
                </a:solidFill>
                <a:latin typeface="Encode Sans Normal Black" panose="02000000000000000000" pitchFamily="2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365749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731497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097246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462994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HEADER HERE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695727" y="1100118"/>
            <a:ext cx="11656832" cy="5417556"/>
          </a:xfrm>
          <a:prstGeom prst="rect">
            <a:avLst/>
          </a:prstGeom>
        </p:spPr>
        <p:txBody>
          <a:bodyPr/>
          <a:lstStyle>
            <a:lvl1pPr marL="274311" indent="-274311">
              <a:buFont typeface="Lucida Grande"/>
              <a:buChar char="&gt;"/>
              <a:defRPr sz="1920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 sz="1600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914371" indent="-182875">
              <a:buSzPct val="100000"/>
              <a:buFont typeface="Lucida Grande"/>
              <a:buChar char="&gt;"/>
              <a:defRPr sz="1441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>
              <a:defRPr sz="1280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645868" indent="-182875">
              <a:buFont typeface="Lucida Grande"/>
              <a:buChar char="&gt;"/>
              <a:defRPr sz="1121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US"/>
              <a:t>Bulleted content here (Calibri Regular, 24 pt.)</a:t>
            </a:r>
          </a:p>
          <a:p>
            <a:pPr lvl="1"/>
            <a:r>
              <a:rPr lang="en-US"/>
              <a:t>Second level (Calibri Regular, 20)</a:t>
            </a:r>
          </a:p>
          <a:p>
            <a:pPr lvl="2"/>
            <a:r>
              <a:rPr lang="en-US"/>
              <a:t>Third level (Calibri Regular, 18)</a:t>
            </a:r>
          </a:p>
          <a:p>
            <a:pPr lvl="3"/>
            <a:r>
              <a:rPr lang="en-US"/>
              <a:t>Fourth level (Calibri Regular, 16)</a:t>
            </a:r>
          </a:p>
          <a:p>
            <a:pPr lvl="4"/>
            <a:r>
              <a:rPr lang="en-US"/>
              <a:t>Fifth level (Calibri Regular, 14)</a:t>
            </a:r>
          </a:p>
        </p:txBody>
      </p:sp>
      <p:sp>
        <p:nvSpPr>
          <p:cNvPr id="12" name="Slide Number Placeholder 10">
            <a:extLst>
              <a:ext uri="{FF2B5EF4-FFF2-40B4-BE49-F238E27FC236}">
                <a16:creationId xmlns:a16="http://schemas.microsoft.com/office/drawing/2014/main" id="{A2ED9C39-E899-4AC0-8CCE-662F985473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78178" y="6922435"/>
            <a:ext cx="453427" cy="38946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6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CDA41B0-E16D-48B4-8B5D-6BC89192C442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DAA379F-56FD-4016-8B55-9764BFAF57C5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702467" y="910019"/>
            <a:ext cx="1569823" cy="102787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D6FE8817-C42B-4281-9674-BA43D9D4ED6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23221" y="6722972"/>
            <a:ext cx="3606663" cy="471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6158083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C04B6E0-EED1-489D-A05E-A10EC427A24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E8EAA6-CCD6-4D76-BEB9-BF301FD6F11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62033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Head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15402" y="6586005"/>
            <a:ext cx="3381247" cy="442406"/>
          </a:xfrm>
          <a:prstGeom prst="rect">
            <a:avLst/>
          </a:prstGeom>
        </p:spPr>
      </p:pic>
      <p:sp>
        <p:nvSpPr>
          <p:cNvPr id="14" name="Slide Number Placeholder 10">
            <a:extLst>
              <a:ext uri="{FF2B5EF4-FFF2-40B4-BE49-F238E27FC236}">
                <a16:creationId xmlns:a16="http://schemas.microsoft.com/office/drawing/2014/main" id="{A2ED9C39-E899-4AC0-8CCE-662F985473A4}"/>
              </a:ext>
            </a:extLst>
          </p:cNvPr>
          <p:cNvSpPr txBox="1">
            <a:spLocks/>
          </p:cNvSpPr>
          <p:nvPr/>
        </p:nvSpPr>
        <p:spPr>
          <a:xfrm>
            <a:off x="261842" y="6727693"/>
            <a:ext cx="453426" cy="389467"/>
          </a:xfrm>
          <a:prstGeom prst="rect">
            <a:avLst/>
          </a:prstGeom>
        </p:spPr>
        <p:txBody>
          <a:bodyPr vert="horz" lIns="97536" tIns="48768" rIns="97536" bIns="48768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876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DA41B0-E16D-48B4-8B5D-6BC89192C442}" type="slidenum">
              <a:rPr kumimoji="0" lang="en-US" sz="1280" b="0" i="0" u="none" strike="noStrike" kern="1200" cap="none" spc="0" normalizeH="0" baseline="0" noProof="0" smtClean="0">
                <a:ln>
                  <a:noFill/>
                </a:ln>
                <a:solidFill>
                  <a:srgbClr val="33006F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76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80" b="0" i="0" u="none" strike="noStrike" kern="1200" cap="none" spc="0" normalizeH="0" baseline="0" noProof="0">
              <a:ln>
                <a:noFill/>
              </a:ln>
              <a:solidFill>
                <a:srgbClr val="33006F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15265" y="562931"/>
            <a:ext cx="11481381" cy="571942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(ENCODE NORMAL BLACK, 30 PT.)</a:t>
            </a: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5264" y="1237659"/>
            <a:ext cx="1177367" cy="1027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5480132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54755" y="917323"/>
            <a:ext cx="9989035" cy="3757164"/>
          </a:xfrm>
          <a:prstGeom prst="rect">
            <a:avLst/>
          </a:prstGeom>
        </p:spPr>
        <p:txBody>
          <a:bodyPr anchor="b"/>
          <a:lstStyle>
            <a:lvl1pPr algn="l">
              <a:defRPr sz="7111" b="1" i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 dirty="0"/>
              <a:t>TITLE HERE</a:t>
            </a:r>
            <a:br>
              <a:rPr lang="en-US" dirty="0"/>
            </a:br>
            <a:r>
              <a:rPr lang="en-US" dirty="0"/>
              <a:t>ENCODE NORMAL</a:t>
            </a:r>
            <a:br>
              <a:rPr lang="en-US" dirty="0"/>
            </a:br>
            <a:r>
              <a:rPr lang="en-US" dirty="0"/>
              <a:t>BLACK, 50 PT. </a:t>
            </a:r>
          </a:p>
        </p:txBody>
      </p:sp>
      <p:pic>
        <p:nvPicPr>
          <p:cNvPr id="7" name="Picture 6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07937" y="4873172"/>
            <a:ext cx="2275840" cy="198684"/>
          </a:xfrm>
          <a:prstGeom prst="rect">
            <a:avLst/>
          </a:prstGeom>
        </p:spPr>
      </p:pic>
      <p:pic>
        <p:nvPicPr>
          <p:cNvPr id="2" name="Picture 1" descr="Be Boundless logo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7938" y="6540813"/>
            <a:ext cx="3449210" cy="303322"/>
          </a:xfrm>
          <a:prstGeom prst="rect">
            <a:avLst/>
          </a:prstGeom>
        </p:spPr>
      </p:pic>
      <p:pic>
        <p:nvPicPr>
          <p:cNvPr id="13" name="Picture 12" descr="W logo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3790" y="6001715"/>
            <a:ext cx="1950720" cy="13134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924922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Purple_Title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54756" y="917323"/>
            <a:ext cx="9916160" cy="3757164"/>
          </a:xfrm>
          <a:prstGeom prst="rect">
            <a:avLst/>
          </a:prstGeom>
        </p:spPr>
        <p:txBody>
          <a:bodyPr anchor="b"/>
          <a:lstStyle>
            <a:lvl1pPr algn="l">
              <a:defRPr sz="7111" b="1" i="0" cap="all" baseline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r>
              <a:rPr lang="en-US"/>
              <a:t>UWFT PPT TEMPLATE</a:t>
            </a:r>
          </a:p>
        </p:txBody>
      </p:sp>
      <p:pic>
        <p:nvPicPr>
          <p:cNvPr id="2" name="Picture 1" descr="Wordmark_center_Purple_HEX.png">
            <a:extLst>
              <a:ext uri="{FF2B5EF4-FFF2-40B4-BE49-F238E27FC236}">
                <a16:creationId xmlns:a16="http://schemas.microsoft.com/office/drawing/2014/main" id="{8FA5D6A6-37E1-E538-8539-6EF3C7979DE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8833" y="7035471"/>
            <a:ext cx="3233727" cy="1633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2419451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54757" y="917323"/>
            <a:ext cx="9989035" cy="3757164"/>
          </a:xfrm>
          <a:prstGeom prst="rect">
            <a:avLst/>
          </a:prstGeom>
        </p:spPr>
        <p:txBody>
          <a:bodyPr anchor="b"/>
          <a:lstStyle>
            <a:lvl1pPr algn="l">
              <a:defRPr sz="7111" b="1" i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 dirty="0"/>
              <a:t>TITLE HERE</a:t>
            </a:r>
            <a:br>
              <a:rPr lang="en-US" dirty="0"/>
            </a:br>
            <a:r>
              <a:rPr lang="en-US" dirty="0"/>
              <a:t>ENCODE NORMAL</a:t>
            </a:r>
            <a:br>
              <a:rPr lang="en-US" dirty="0"/>
            </a:br>
            <a:r>
              <a:rPr lang="en-US" dirty="0"/>
              <a:t>BLACK, 50 PT. </a:t>
            </a:r>
          </a:p>
        </p:txBody>
      </p:sp>
      <p:pic>
        <p:nvPicPr>
          <p:cNvPr id="7" name="Picture 6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07937" y="4873172"/>
            <a:ext cx="2275840" cy="198684"/>
          </a:xfrm>
          <a:prstGeom prst="rect">
            <a:avLst/>
          </a:prstGeom>
        </p:spPr>
      </p:pic>
      <p:pic>
        <p:nvPicPr>
          <p:cNvPr id="13" name="Picture 12" descr="University of Washington logo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7944" y="6649643"/>
            <a:ext cx="3612432" cy="245065"/>
          </a:xfrm>
          <a:prstGeom prst="rect">
            <a:avLst/>
          </a:prstGeom>
        </p:spPr>
      </p:pic>
      <p:pic>
        <p:nvPicPr>
          <p:cNvPr id="6" name="Picture 5" descr="W logo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3790" y="6001715"/>
            <a:ext cx="1950720" cy="13134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7408316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+ Sub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7045" y="525206"/>
            <a:ext cx="11658111" cy="1413369"/>
          </a:xfrm>
          <a:prstGeom prst="rect">
            <a:avLst/>
          </a:prstGeom>
        </p:spPr>
        <p:txBody>
          <a:bodyPr anchor="b"/>
          <a:lstStyle>
            <a:lvl1pPr algn="l">
              <a:defRPr sz="4267" b="1" i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 dirty="0"/>
              <a:t>HEADER HERE </a:t>
            </a:r>
            <a:br>
              <a:rPr lang="en-US" dirty="0"/>
            </a:br>
            <a:r>
              <a:rPr lang="en-US" dirty="0"/>
              <a:t>(ENCODE NORMAL BLACK, 30 PT.)</a:t>
            </a:r>
          </a:p>
        </p:txBody>
      </p:sp>
      <p:pic>
        <p:nvPicPr>
          <p:cNvPr id="12" name="Picture 1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0845" y="1939211"/>
            <a:ext cx="1569822" cy="137048"/>
          </a:xfrm>
          <a:prstGeom prst="rect">
            <a:avLst/>
          </a:prstGeom>
        </p:spPr>
      </p:pic>
      <p:sp>
        <p:nvSpPr>
          <p:cNvPr id="25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54756" y="2461394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3413" b="0" i="0" baseline="0">
                <a:solidFill>
                  <a:schemeClr val="tx2"/>
                </a:solidFill>
                <a:latin typeface="Uni Sans" charset="0"/>
                <a:ea typeface="Uni Sans" charset="0"/>
                <a:cs typeface="Uni Sans" charset="0"/>
              </a:defRPr>
            </a:lvl1pPr>
            <a:lvl2pPr marL="65023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130046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95069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2600919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 dirty="0"/>
              <a:t>SUB-HEADER HERE (UNI SANS REGULAR, 24 PT.)</a:t>
            </a:r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637046" y="3299896"/>
            <a:ext cx="11658118" cy="3202505"/>
          </a:xfrm>
          <a:prstGeom prst="rect">
            <a:avLst/>
          </a:prstGeom>
        </p:spPr>
        <p:txBody>
          <a:bodyPr/>
          <a:lstStyle>
            <a:lvl1pPr marL="487672" indent="-487672">
              <a:buFont typeface="Lucida Grande"/>
              <a:buChar char="&gt;"/>
              <a:defRPr sz="3413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844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625575" indent="-325115">
              <a:buSzPct val="100000"/>
              <a:buFont typeface="Lucida Grande"/>
              <a:buChar char="&gt;"/>
              <a:defRPr sz="2560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2276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926034" indent="-325115">
              <a:buFont typeface="Lucida Grande"/>
              <a:buChar char="&gt;"/>
              <a:defRPr sz="1991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</a:lstStyle>
          <a:p>
            <a:pPr lvl="0"/>
            <a:r>
              <a:rPr lang="en-US" dirty="0"/>
              <a:t>Content here (Open Sans Bold, 24 pt.)</a:t>
            </a:r>
          </a:p>
          <a:p>
            <a:pPr lvl="1"/>
            <a:r>
              <a:rPr lang="en-US" dirty="0"/>
              <a:t>Second level (Open Sans Bold, 20)</a:t>
            </a:r>
          </a:p>
          <a:p>
            <a:pPr lvl="2"/>
            <a:r>
              <a:rPr lang="en-US" dirty="0"/>
              <a:t>Third level (Open Sans Bold, 18)</a:t>
            </a:r>
          </a:p>
          <a:p>
            <a:pPr lvl="3"/>
            <a:r>
              <a:rPr lang="en-US" dirty="0"/>
              <a:t>Fourth level (Open Sans Bold, 16)</a:t>
            </a:r>
          </a:p>
          <a:p>
            <a:pPr lvl="4"/>
            <a:r>
              <a:rPr lang="en-US" dirty="0"/>
              <a:t>Fifth level (Open Sans Bold, 14)</a:t>
            </a:r>
          </a:p>
        </p:txBody>
      </p:sp>
      <p:pic>
        <p:nvPicPr>
          <p:cNvPr id="26" name="Picture 2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82726" y="6649643"/>
            <a:ext cx="3612432" cy="2450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6478618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54756" y="527108"/>
            <a:ext cx="11640408" cy="1413369"/>
          </a:xfrm>
          <a:prstGeom prst="rect">
            <a:avLst/>
          </a:prstGeom>
        </p:spPr>
        <p:txBody>
          <a:bodyPr anchor="b"/>
          <a:lstStyle>
            <a:lvl1pPr algn="l">
              <a:defRPr sz="4267" b="1" i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 dirty="0"/>
              <a:t>HEADER HERE </a:t>
            </a:r>
            <a:br>
              <a:rPr lang="en-US" dirty="0"/>
            </a:br>
            <a:r>
              <a:rPr lang="en-US" dirty="0"/>
              <a:t>(ENCODE NORMAL BLACK, 30 PT.)</a:t>
            </a:r>
          </a:p>
        </p:txBody>
      </p:sp>
      <p:pic>
        <p:nvPicPr>
          <p:cNvPr id="22" name="Picture 2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0845" y="1939211"/>
            <a:ext cx="1569822" cy="137048"/>
          </a:xfrm>
          <a:prstGeom prst="rect">
            <a:avLst/>
          </a:prstGeom>
        </p:spPr>
      </p:pic>
      <p:sp>
        <p:nvSpPr>
          <p:cNvPr id="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637046" y="2461394"/>
            <a:ext cx="11658118" cy="3364837"/>
          </a:xfrm>
          <a:prstGeom prst="rect">
            <a:avLst/>
          </a:prstGeom>
        </p:spPr>
        <p:txBody>
          <a:bodyPr/>
          <a:lstStyle>
            <a:lvl1pPr marL="487672" indent="-487672">
              <a:buFont typeface="Lucida Grande"/>
              <a:buChar char="&gt;"/>
              <a:defRPr sz="3413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844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625575" indent="-325115">
              <a:buSzPct val="100000"/>
              <a:buFont typeface="Lucida Grande"/>
              <a:buChar char="&gt;"/>
              <a:defRPr sz="2560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2276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926034" indent="-325115">
              <a:buFont typeface="Lucida Grande"/>
              <a:buChar char="&gt;"/>
              <a:defRPr sz="1991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</a:lstStyle>
          <a:p>
            <a:pPr lvl="0"/>
            <a:r>
              <a:rPr lang="en-US" dirty="0"/>
              <a:t>Content here (Open Sans Bold, 24 pt.)</a:t>
            </a:r>
          </a:p>
          <a:p>
            <a:pPr lvl="1"/>
            <a:r>
              <a:rPr lang="en-US" dirty="0"/>
              <a:t>Second level (Open Sans Bold, 20)</a:t>
            </a:r>
          </a:p>
          <a:p>
            <a:pPr lvl="2"/>
            <a:r>
              <a:rPr lang="en-US" dirty="0"/>
              <a:t>Third level (Open Sans Bold, 18)</a:t>
            </a:r>
          </a:p>
          <a:p>
            <a:pPr lvl="3"/>
            <a:r>
              <a:rPr lang="en-US" dirty="0"/>
              <a:t>Fourth level (Open Sans Bold, 16)</a:t>
            </a:r>
          </a:p>
          <a:p>
            <a:pPr lvl="4"/>
            <a:r>
              <a:rPr lang="en-US" dirty="0"/>
              <a:t>Fifth level (Open Sans Bold, 14)</a:t>
            </a:r>
          </a:p>
        </p:txBody>
      </p:sp>
      <p:pic>
        <p:nvPicPr>
          <p:cNvPr id="6" name="Picture 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3790" y="6001715"/>
            <a:ext cx="1950720" cy="13134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1732879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+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54755" y="525843"/>
            <a:ext cx="11622699" cy="1413369"/>
          </a:xfrm>
          <a:prstGeom prst="rect">
            <a:avLst/>
          </a:prstGeom>
        </p:spPr>
        <p:txBody>
          <a:bodyPr anchor="b"/>
          <a:lstStyle>
            <a:lvl1pPr algn="l">
              <a:defRPr sz="4267" b="1" i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 dirty="0"/>
              <a:t>HEADER HERE </a:t>
            </a:r>
            <a:br>
              <a:rPr lang="en-US" dirty="0"/>
            </a:br>
            <a:r>
              <a:rPr lang="en-US" dirty="0"/>
              <a:t>(ENCODE NORMAL BLACK, 30 PT.)</a:t>
            </a:r>
          </a:p>
        </p:txBody>
      </p:sp>
      <p:pic>
        <p:nvPicPr>
          <p:cNvPr id="9" name="Picture 8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0845" y="1939211"/>
            <a:ext cx="1569822" cy="137048"/>
          </a:xfrm>
          <a:prstGeom prst="rect">
            <a:avLst/>
          </a:prstGeom>
        </p:spPr>
      </p:pic>
      <p:sp>
        <p:nvSpPr>
          <p:cNvPr id="10" name="Chart Placeholder 11"/>
          <p:cNvSpPr>
            <a:spLocks noGrp="1"/>
          </p:cNvSpPr>
          <p:nvPr>
            <p:ph type="chart" sz="quarter" idx="12" hasCustomPrompt="1"/>
          </p:nvPr>
        </p:nvSpPr>
        <p:spPr>
          <a:xfrm>
            <a:off x="637046" y="2453301"/>
            <a:ext cx="11640408" cy="42114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3413" b="0" i="1" baseline="0">
                <a:solidFill>
                  <a:schemeClr val="tx1"/>
                </a:solidFill>
                <a:latin typeface="Open Sans Light"/>
                <a:cs typeface="Open Sans Light"/>
              </a:defRPr>
            </a:lvl1pPr>
          </a:lstStyle>
          <a:p>
            <a:r>
              <a:rPr lang="en-US" dirty="0"/>
              <a:t>Graphics can go here – </a:t>
            </a:r>
            <a:br>
              <a:rPr lang="en-US" dirty="0"/>
            </a:br>
            <a:r>
              <a:rPr lang="en-US" dirty="0"/>
              <a:t>replace this box with your image or chart</a:t>
            </a:r>
          </a:p>
        </p:txBody>
      </p:sp>
      <p:pic>
        <p:nvPicPr>
          <p:cNvPr id="12" name="Picture 1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82726" y="6649643"/>
            <a:ext cx="3612432" cy="2450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680077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urple_Title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black and white photo of a building&#10;&#10;Description automatically generated">
            <a:extLst>
              <a:ext uri="{FF2B5EF4-FFF2-40B4-BE49-F238E27FC236}">
                <a16:creationId xmlns:a16="http://schemas.microsoft.com/office/drawing/2014/main" id="{A4AFFC6B-C2F5-4BDF-BE88-447AA751794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5743"/>
          <a:stretch/>
        </p:blipFill>
        <p:spPr>
          <a:xfrm>
            <a:off x="0" y="0"/>
            <a:ext cx="13022990" cy="73152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859F770B-1AFA-44FC-9DD4-5D8A00EEA36A}"/>
              </a:ext>
            </a:extLst>
          </p:cNvPr>
          <p:cNvSpPr/>
          <p:nvPr/>
        </p:nvSpPr>
        <p:spPr>
          <a:xfrm>
            <a:off x="-12386" y="0"/>
            <a:ext cx="13022990" cy="7315200"/>
          </a:xfrm>
          <a:prstGeom prst="rect">
            <a:avLst/>
          </a:prstGeom>
          <a:solidFill>
            <a:srgbClr val="33006F">
              <a:alpha val="76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02"/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54756" y="917323"/>
            <a:ext cx="9916160" cy="3757164"/>
          </a:xfrm>
          <a:prstGeom prst="rect">
            <a:avLst/>
          </a:prstGeom>
        </p:spPr>
        <p:txBody>
          <a:bodyPr anchor="b"/>
          <a:lstStyle>
            <a:lvl1pPr algn="l">
              <a:defRPr sz="7111" b="1" i="0" cap="all" baseline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r>
              <a:rPr lang="en-US"/>
              <a:t>UWFT PPT TEMPLATE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7937" y="4873172"/>
            <a:ext cx="2275840" cy="198684"/>
          </a:xfrm>
          <a:prstGeom prst="rect">
            <a:avLst/>
          </a:prstGeom>
        </p:spPr>
      </p:pic>
      <p:pic>
        <p:nvPicPr>
          <p:cNvPr id="2" name="Picture 1" descr="W logo">
            <a:extLst>
              <a:ext uri="{FF2B5EF4-FFF2-40B4-BE49-F238E27FC236}">
                <a16:creationId xmlns:a16="http://schemas.microsoft.com/office/drawing/2014/main" id="{A1625C45-CF9F-63CE-E171-708DA9CA0C2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96696" y="6123184"/>
            <a:ext cx="1371600" cy="9235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051323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urple_Conten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 descr="A black and white photo of a building&#10;&#10;Description automatically generated">
            <a:extLst>
              <a:ext uri="{FF2B5EF4-FFF2-40B4-BE49-F238E27FC236}">
                <a16:creationId xmlns:a16="http://schemas.microsoft.com/office/drawing/2014/main" id="{30777DB8-8F31-4920-9ED8-891DAFB3497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5743"/>
          <a:stretch/>
        </p:blipFill>
        <p:spPr>
          <a:xfrm>
            <a:off x="0" y="0"/>
            <a:ext cx="13022990" cy="7315200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B55B0D5F-0D49-44AA-B6A3-5585E2435D8F}"/>
              </a:ext>
            </a:extLst>
          </p:cNvPr>
          <p:cNvSpPr/>
          <p:nvPr userDrawn="1"/>
        </p:nvSpPr>
        <p:spPr>
          <a:xfrm>
            <a:off x="-12386" y="0"/>
            <a:ext cx="13022990" cy="7315200"/>
          </a:xfrm>
          <a:prstGeom prst="rect">
            <a:avLst/>
          </a:prstGeom>
          <a:solidFill>
            <a:srgbClr val="33006F">
              <a:alpha val="76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02"/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657C2D78-2B07-4691-A236-70E31EF3986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7046" y="1773193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3413" b="0" i="0" cap="all" baseline="0">
                <a:solidFill>
                  <a:schemeClr val="tx2"/>
                </a:solidFill>
                <a:latin typeface="Uni Sans" charset="0"/>
                <a:ea typeface="Uni Sans" charset="0"/>
                <a:cs typeface="Uni Sans" charset="0"/>
              </a:defRPr>
            </a:lvl1pPr>
            <a:lvl2pPr marL="65023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130046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95069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2600919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E918370A-67C2-4A95-9C0A-1ADA34949B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336" y="2597311"/>
            <a:ext cx="11658118" cy="3202505"/>
          </a:xfrm>
          <a:prstGeom prst="rect">
            <a:avLst/>
          </a:prstGeom>
        </p:spPr>
        <p:txBody>
          <a:bodyPr/>
          <a:lstStyle>
            <a:lvl1pPr marL="487672" indent="-487672">
              <a:buFont typeface="Lucida Grande"/>
              <a:buChar char="&gt;"/>
              <a:defRPr sz="3413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844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625575" indent="-325115">
              <a:buSzPct val="100000"/>
              <a:buFont typeface="Lucida Grande"/>
              <a:buChar char="&gt;"/>
              <a:defRPr sz="256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2276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926034" indent="-325115">
              <a:buFont typeface="Lucida Grande"/>
              <a:buChar char="&gt;"/>
              <a:defRPr sz="1991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>
              <a:defRPr baseline="0">
                <a:solidFill>
                  <a:schemeClr val="tx2"/>
                </a:solidFill>
              </a:defRPr>
            </a:lvl6pPr>
            <a:lvl7pPr>
              <a:defRPr baseline="0">
                <a:solidFill>
                  <a:schemeClr val="tx2"/>
                </a:solidFill>
              </a:defRPr>
            </a:lvl7pPr>
            <a:lvl9pPr>
              <a:defRPr/>
            </a:lvl9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, 20)</a:t>
            </a:r>
          </a:p>
          <a:p>
            <a:pPr lvl="2"/>
            <a:r>
              <a:rPr lang="en-US"/>
              <a:t>Third level (Open Sans, 18)</a:t>
            </a:r>
          </a:p>
          <a:p>
            <a:pPr lvl="3"/>
            <a:r>
              <a:rPr lang="en-US"/>
              <a:t>Fourth level (Open Sans, 16)</a:t>
            </a:r>
          </a:p>
          <a:p>
            <a:pPr lvl="4"/>
            <a:r>
              <a:rPr lang="en-US"/>
              <a:t>Fifth level (Open Sans, 14)</a:t>
            </a:r>
          </a:p>
        </p:txBody>
      </p:sp>
      <p:sp>
        <p:nvSpPr>
          <p:cNvPr id="20" name="Slide Number Placeholder 1">
            <a:extLst>
              <a:ext uri="{FF2B5EF4-FFF2-40B4-BE49-F238E27FC236}">
                <a16:creationId xmlns:a16="http://schemas.microsoft.com/office/drawing/2014/main" id="{B76A1AC9-D26F-4D84-951F-8821394994AF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0" y="6924606"/>
            <a:ext cx="948267" cy="390595"/>
          </a:xfrm>
          <a:prstGeom prst="rect">
            <a:avLst/>
          </a:prstGeom>
        </p:spPr>
        <p:txBody>
          <a:bodyPr/>
          <a:lstStyle>
            <a:lvl1pPr algn="l">
              <a:defRPr sz="1707">
                <a:solidFill>
                  <a:schemeClr val="tx2"/>
                </a:solidFill>
              </a:defRPr>
            </a:lvl1pPr>
          </a:lstStyle>
          <a:p>
            <a:fld id="{95471BDC-C822-445D-A28A-E864ABD6C12F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AEE1E851-D3C6-42FA-BEB6-196FB5A6CAA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80845" y="1235054"/>
            <a:ext cx="1569822" cy="137048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id="{FC782E3B-19A9-4DC7-A92C-AAA949AF2A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9336" y="596893"/>
            <a:ext cx="11658118" cy="706685"/>
          </a:xfrm>
          <a:prstGeom prst="rect">
            <a:avLst/>
          </a:prstGeom>
        </p:spPr>
        <p:txBody>
          <a:bodyPr anchor="b"/>
          <a:lstStyle>
            <a:lvl1pPr algn="l">
              <a:defRPr sz="4267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pic>
        <p:nvPicPr>
          <p:cNvPr id="2" name="Picture 1" descr="W logo">
            <a:extLst>
              <a:ext uri="{FF2B5EF4-FFF2-40B4-BE49-F238E27FC236}">
                <a16:creationId xmlns:a16="http://schemas.microsoft.com/office/drawing/2014/main" id="{994E4F0D-3A53-BD98-CA84-66EDB32B406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92389" y="6196359"/>
            <a:ext cx="1371600" cy="9235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85468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urple_Content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FF5D961D-A110-46E3-9A8E-CD8C6D050B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0845" y="1235054"/>
            <a:ext cx="1569822" cy="137048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D31FDD31-55CC-498E-B380-86658AA9A7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9336" y="596893"/>
            <a:ext cx="11658118" cy="706685"/>
          </a:xfrm>
          <a:prstGeom prst="rect">
            <a:avLst/>
          </a:prstGeom>
        </p:spPr>
        <p:txBody>
          <a:bodyPr anchor="b"/>
          <a:lstStyle>
            <a:lvl1pPr algn="l">
              <a:defRPr sz="4267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3D6390A-DAED-4A47-B7D5-0C5D43422C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7046" y="1773193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3413" b="0" i="0" cap="all" baseline="0">
                <a:solidFill>
                  <a:schemeClr val="tx2"/>
                </a:solidFill>
                <a:latin typeface="Uni Sans" charset="0"/>
                <a:ea typeface="Uni Sans" charset="0"/>
                <a:cs typeface="Uni Sans" charset="0"/>
              </a:defRPr>
            </a:lvl1pPr>
            <a:lvl2pPr marL="65023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130046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95069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2600919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id="{0F563B1E-89A1-4FA3-9240-3D03D6F93CE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0" y="6924606"/>
            <a:ext cx="821831" cy="390595"/>
          </a:xfrm>
          <a:prstGeom prst="rect">
            <a:avLst/>
          </a:prstGeom>
        </p:spPr>
        <p:txBody>
          <a:bodyPr/>
          <a:lstStyle>
            <a:lvl1pPr>
              <a:defRPr sz="1707">
                <a:solidFill>
                  <a:schemeClr val="tx2"/>
                </a:solidFill>
              </a:defRPr>
            </a:lvl1pPr>
          </a:lstStyle>
          <a:p>
            <a:fld id="{5FC2A098-C205-46C9-9A6D-EB2B2028999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B8E40DE9-6EB0-4F70-9A67-CE64F165993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336" y="2597311"/>
            <a:ext cx="11658118" cy="3202505"/>
          </a:xfrm>
          <a:prstGeom prst="rect">
            <a:avLst/>
          </a:prstGeom>
        </p:spPr>
        <p:txBody>
          <a:bodyPr/>
          <a:lstStyle>
            <a:lvl1pPr marL="487672" indent="-487672">
              <a:buFont typeface="Lucida Grande"/>
              <a:buChar char="&gt;"/>
              <a:defRPr sz="3413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844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625575" indent="-325115">
              <a:buSzPct val="100000"/>
              <a:buFont typeface="Lucida Grande"/>
              <a:buChar char="&gt;"/>
              <a:defRPr sz="256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2276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926034" indent="-325115">
              <a:buFont typeface="Lucida Grande"/>
              <a:buChar char="&gt;"/>
              <a:defRPr sz="1991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>
              <a:defRPr baseline="0">
                <a:solidFill>
                  <a:schemeClr val="tx2"/>
                </a:solidFill>
              </a:defRPr>
            </a:lvl6pPr>
            <a:lvl7pPr>
              <a:defRPr baseline="0">
                <a:solidFill>
                  <a:schemeClr val="tx2"/>
                </a:solidFill>
              </a:defRPr>
            </a:lvl7pPr>
            <a:lvl9pPr>
              <a:defRPr/>
            </a:lvl9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, 20)</a:t>
            </a:r>
          </a:p>
          <a:p>
            <a:pPr lvl="2"/>
            <a:r>
              <a:rPr lang="en-US"/>
              <a:t>Third level (Open Sans, 18)</a:t>
            </a:r>
          </a:p>
          <a:p>
            <a:pPr lvl="3"/>
            <a:r>
              <a:rPr lang="en-US"/>
              <a:t>Fourth level (Open Sans, 16)</a:t>
            </a:r>
          </a:p>
          <a:p>
            <a:pPr lvl="4"/>
            <a:r>
              <a:rPr lang="en-US"/>
              <a:t>Fifth level (Open Sans, 14)</a:t>
            </a:r>
          </a:p>
        </p:txBody>
      </p:sp>
      <p:pic>
        <p:nvPicPr>
          <p:cNvPr id="2" name="Picture 1" descr="W logo">
            <a:extLst>
              <a:ext uri="{FF2B5EF4-FFF2-40B4-BE49-F238E27FC236}">
                <a16:creationId xmlns:a16="http://schemas.microsoft.com/office/drawing/2014/main" id="{70634C4C-C400-FD4F-A934-2CA6F38A799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13722" y="6473393"/>
            <a:ext cx="1049532" cy="7066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103777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urple_Graphic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D35B8508-C281-42AF-AC76-3B09D0C085B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0845" y="1235054"/>
            <a:ext cx="1569822" cy="137048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B7C326E5-7F62-42C5-9B7A-AA562D0025E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9336" y="596893"/>
            <a:ext cx="11658118" cy="706685"/>
          </a:xfrm>
          <a:prstGeom prst="rect">
            <a:avLst/>
          </a:prstGeom>
        </p:spPr>
        <p:txBody>
          <a:bodyPr anchor="b"/>
          <a:lstStyle>
            <a:lvl1pPr algn="l">
              <a:defRPr sz="4267" b="1" i="0" cap="all" baseline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sp>
        <p:nvSpPr>
          <p:cNvPr id="13" name="Chart Placeholder 11">
            <a:extLst>
              <a:ext uri="{FF2B5EF4-FFF2-40B4-BE49-F238E27FC236}">
                <a16:creationId xmlns:a16="http://schemas.microsoft.com/office/drawing/2014/main" id="{EFCD498D-D419-4FB2-BEE1-70FFC1BC9D72}"/>
              </a:ext>
            </a:extLst>
          </p:cNvPr>
          <p:cNvSpPr>
            <a:spLocks noGrp="1"/>
          </p:cNvSpPr>
          <p:nvPr>
            <p:ph type="chart" sz="quarter" idx="12" hasCustomPrompt="1"/>
          </p:nvPr>
        </p:nvSpPr>
        <p:spPr>
          <a:xfrm>
            <a:off x="654756" y="1557441"/>
            <a:ext cx="11640408" cy="506107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3413" b="0" i="1" baseline="0">
                <a:solidFill>
                  <a:schemeClr val="tx2"/>
                </a:solidFill>
                <a:latin typeface="Open Sans Light"/>
                <a:cs typeface="Open Sans Light"/>
              </a:defRPr>
            </a:lvl1pPr>
          </a:lstStyle>
          <a:p>
            <a:r>
              <a:rPr lang="en-US"/>
              <a:t>Graphics can go here – </a:t>
            </a:r>
            <a:br>
              <a:rPr lang="en-US"/>
            </a:br>
            <a:r>
              <a:rPr lang="en-US"/>
              <a:t>replace this box with your image or chart</a:t>
            </a:r>
          </a:p>
        </p:txBody>
      </p:sp>
      <p:sp>
        <p:nvSpPr>
          <p:cNvPr id="14" name="Slide Number Placeholder 2">
            <a:extLst>
              <a:ext uri="{FF2B5EF4-FFF2-40B4-BE49-F238E27FC236}">
                <a16:creationId xmlns:a16="http://schemas.microsoft.com/office/drawing/2014/main" id="{914D78C1-0F41-4F95-9D1C-C374193F1AE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0" y="6924606"/>
            <a:ext cx="821831" cy="390595"/>
          </a:xfrm>
          <a:prstGeom prst="rect">
            <a:avLst/>
          </a:prstGeom>
        </p:spPr>
        <p:txBody>
          <a:bodyPr/>
          <a:lstStyle>
            <a:lvl1pPr>
              <a:defRPr sz="1707">
                <a:solidFill>
                  <a:schemeClr val="tx2"/>
                </a:solidFill>
              </a:defRPr>
            </a:lvl1pPr>
          </a:lstStyle>
          <a:p>
            <a:fld id="{5FC2A098-C205-46C9-9A6D-EB2B2028999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" name="Picture 1" descr="W logo">
            <a:extLst>
              <a:ext uri="{FF2B5EF4-FFF2-40B4-BE49-F238E27FC236}">
                <a16:creationId xmlns:a16="http://schemas.microsoft.com/office/drawing/2014/main" id="{97CBA4BA-2AC5-759D-196C-67CA4CAC513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99455" y="6718307"/>
            <a:ext cx="685800" cy="4617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19873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urple_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8D8A2689-1CBE-4BFF-B995-6B7EC13B4ED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21832" y="3666004"/>
            <a:ext cx="1569822" cy="137048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051FDAEC-6032-4B1C-BB06-69B39C6E46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341" y="3026889"/>
            <a:ext cx="11658118" cy="706685"/>
          </a:xfrm>
          <a:prstGeom prst="rect">
            <a:avLst/>
          </a:prstGeom>
        </p:spPr>
        <p:txBody>
          <a:bodyPr anchor="b"/>
          <a:lstStyle>
            <a:lvl1pPr algn="l">
              <a:defRPr sz="4267" b="1" i="0" cap="none" baseline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Divider Slide</a:t>
            </a:r>
          </a:p>
        </p:txBody>
      </p:sp>
      <p:pic>
        <p:nvPicPr>
          <p:cNvPr id="9" name="Picture 8" descr="A screenshot of a cell phone&#10;&#10;Description automatically generated">
            <a:extLst>
              <a:ext uri="{FF2B5EF4-FFF2-40B4-BE49-F238E27FC236}">
                <a16:creationId xmlns:a16="http://schemas.microsoft.com/office/drawing/2014/main" id="{4CC1B0FC-921C-4371-A944-F6A14F655C8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990812" y="6738111"/>
            <a:ext cx="2017759" cy="2623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51594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+ Sub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15264" y="423398"/>
            <a:ext cx="11481380" cy="571942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 dirty="0"/>
              <a:t>HEADER HERE (ENCODE NORMAL BLACK, 30 PT.)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715264" y="2430335"/>
            <a:ext cx="11481380" cy="3889525"/>
          </a:xfrm>
          <a:prstGeom prst="rect">
            <a:avLst/>
          </a:prstGeom>
        </p:spPr>
        <p:txBody>
          <a:bodyPr/>
          <a:lstStyle>
            <a:lvl1pPr marL="365782" indent="-365782">
              <a:buFont typeface="Lucida Grande"/>
              <a:buChar char="&gt;"/>
              <a:defRPr sz="2560" b="1" i="0" baseline="0">
                <a:solidFill>
                  <a:schemeClr val="tx1"/>
                </a:solidFill>
                <a:latin typeface="Open Sans"/>
                <a:cs typeface="Open Sans"/>
              </a:defRPr>
            </a:lvl1pPr>
            <a:lvl2pPr>
              <a:defRPr sz="2133" b="1" i="0" baseline="0">
                <a:solidFill>
                  <a:schemeClr val="tx1"/>
                </a:solidFill>
                <a:latin typeface="Open Sans"/>
                <a:cs typeface="Open Sans"/>
              </a:defRPr>
            </a:lvl2pPr>
            <a:lvl3pPr marL="1219277" indent="-243856">
              <a:buSzPct val="100000"/>
              <a:buFont typeface="Lucida Grande"/>
              <a:buChar char="&gt;"/>
              <a:defRPr sz="1920" b="1" i="0" baseline="0">
                <a:solidFill>
                  <a:schemeClr val="tx1"/>
                </a:solidFill>
                <a:latin typeface="Open Sans"/>
                <a:cs typeface="Open Sans"/>
              </a:defRPr>
            </a:lvl3pPr>
            <a:lvl4pPr>
              <a:defRPr sz="1707" b="1" i="0" baseline="0">
                <a:solidFill>
                  <a:schemeClr val="tx1"/>
                </a:solidFill>
                <a:latin typeface="Open Sans"/>
                <a:cs typeface="Open Sans"/>
              </a:defRPr>
            </a:lvl4pPr>
            <a:lvl5pPr marL="2194698" indent="-243856">
              <a:buFont typeface="Lucida Grande"/>
              <a:buChar char="&gt;"/>
              <a:defRPr sz="1493" b="1" i="0" baseline="0">
                <a:solidFill>
                  <a:schemeClr val="tx1"/>
                </a:solidFill>
                <a:latin typeface="Open Sans"/>
                <a:cs typeface="Open Sans"/>
              </a:defRPr>
            </a:lvl5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 Bold, 20)</a:t>
            </a:r>
          </a:p>
          <a:p>
            <a:pPr lvl="2"/>
            <a:r>
              <a:rPr lang="en-US"/>
              <a:t>Third level (Open Sans Bold, 18)</a:t>
            </a:r>
          </a:p>
          <a:p>
            <a:pPr lvl="3"/>
            <a:r>
              <a:rPr lang="en-US"/>
              <a:t>Fourth level (Open Sans Bold, 16)</a:t>
            </a:r>
          </a:p>
          <a:p>
            <a:pPr lvl="4"/>
            <a:r>
              <a:rPr lang="en-US"/>
              <a:t>Fifth level (Open Sans Bold, 14)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15264" y="2022502"/>
            <a:ext cx="11481380" cy="28598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1493" b="0" i="0" baseline="0">
                <a:solidFill>
                  <a:schemeClr val="accent4">
                    <a:lumMod val="50000"/>
                  </a:schemeClr>
                </a:solidFill>
                <a:latin typeface="Uni Sans Book" panose="00000500000000000000" pitchFamily="50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8771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42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313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84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, 14 PT.)</a:t>
            </a:r>
          </a:p>
        </p:txBody>
      </p:sp>
      <p:sp>
        <p:nvSpPr>
          <p:cNvPr id="17" name="Slide Number Placeholder 10">
            <a:extLst>
              <a:ext uri="{FF2B5EF4-FFF2-40B4-BE49-F238E27FC236}">
                <a16:creationId xmlns:a16="http://schemas.microsoft.com/office/drawing/2014/main" id="{A2ED9C39-E899-4AC0-8CCE-662F985473A4}"/>
              </a:ext>
            </a:extLst>
          </p:cNvPr>
          <p:cNvSpPr txBox="1">
            <a:spLocks/>
          </p:cNvSpPr>
          <p:nvPr userDrawn="1"/>
        </p:nvSpPr>
        <p:spPr>
          <a:xfrm>
            <a:off x="261838" y="6727693"/>
            <a:ext cx="453426" cy="389467"/>
          </a:xfrm>
          <a:prstGeom prst="rect">
            <a:avLst/>
          </a:prstGeom>
        </p:spPr>
        <p:txBody>
          <a:bodyPr vert="horz" lIns="97536" tIns="48768" rIns="97536" bIns="48768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877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DA41B0-E16D-48B4-8B5D-6BC89192C442}" type="slidenum">
              <a:rPr kumimoji="0" lang="en-US" sz="1280" b="0" i="0" u="none" strike="noStrike" kern="1200" cap="none" spc="0" normalizeH="0" baseline="0" noProof="0" smtClean="0">
                <a:ln>
                  <a:noFill/>
                </a:ln>
                <a:solidFill>
                  <a:srgbClr val="33006F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77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80" b="0" i="0" u="none" strike="noStrike" kern="1200" cap="none" spc="0" normalizeH="0" baseline="0" noProof="0" dirty="0">
              <a:ln>
                <a:noFill/>
              </a:ln>
              <a:solidFill>
                <a:srgbClr val="33006F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15265" y="1096470"/>
            <a:ext cx="1177366" cy="102786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15399" y="6586002"/>
            <a:ext cx="3381247" cy="4424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738863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hite_Content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FF5D961D-A110-46E3-9A8E-CD8C6D050B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0846" y="1235055"/>
            <a:ext cx="1569822" cy="137048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D31FDD31-55CC-498E-B380-86658AA9A7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9336" y="596894"/>
            <a:ext cx="11658118" cy="706685"/>
          </a:xfrm>
          <a:prstGeom prst="rect">
            <a:avLst/>
          </a:prstGeom>
        </p:spPr>
        <p:txBody>
          <a:bodyPr anchor="b"/>
          <a:lstStyle>
            <a:lvl1pPr algn="l">
              <a:defRPr sz="4267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pic>
        <p:nvPicPr>
          <p:cNvPr id="13" name="Picture 12" descr="A screenshot of a cell phone&#10;&#10;Description automatically generated">
            <a:extLst>
              <a:ext uri="{FF2B5EF4-FFF2-40B4-BE49-F238E27FC236}">
                <a16:creationId xmlns:a16="http://schemas.microsoft.com/office/drawing/2014/main" id="{C79536C7-D87B-41F2-87B1-CA35D625272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990813" y="6738111"/>
            <a:ext cx="2017759" cy="262366"/>
          </a:xfrm>
          <a:prstGeom prst="rect">
            <a:avLst/>
          </a:prstGeom>
        </p:spPr>
      </p:pic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3D6390A-DAED-4A47-B7D5-0C5D43422C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7048" y="1773194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3413" b="0" i="0" cap="all" baseline="0">
                <a:solidFill>
                  <a:schemeClr val="tx2"/>
                </a:solidFill>
                <a:latin typeface="Uni Sans" charset="0"/>
                <a:ea typeface="Uni Sans" charset="0"/>
                <a:cs typeface="Uni Sans" charset="0"/>
              </a:defRPr>
            </a:lvl1pPr>
            <a:lvl2pPr marL="650214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1300428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950641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2600854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id="{0F563B1E-89A1-4FA3-9240-3D03D6F93CE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" y="6924607"/>
            <a:ext cx="821831" cy="390595"/>
          </a:xfrm>
          <a:prstGeom prst="rect">
            <a:avLst/>
          </a:prstGeom>
        </p:spPr>
        <p:txBody>
          <a:bodyPr/>
          <a:lstStyle>
            <a:lvl1pPr>
              <a:defRPr sz="1707">
                <a:solidFill>
                  <a:schemeClr val="tx2"/>
                </a:solidFill>
              </a:defRPr>
            </a:lvl1pPr>
          </a:lstStyle>
          <a:p>
            <a:fld id="{5FC2A098-C205-46C9-9A6D-EB2B2028999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B8E40DE9-6EB0-4F70-9A67-CE64F165993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336" y="2597311"/>
            <a:ext cx="11658118" cy="3202505"/>
          </a:xfrm>
          <a:prstGeom prst="rect">
            <a:avLst/>
          </a:prstGeom>
        </p:spPr>
        <p:txBody>
          <a:bodyPr/>
          <a:lstStyle>
            <a:lvl1pPr marL="487661" indent="-487661">
              <a:buFont typeface="Lucida Grande"/>
              <a:buChar char="&gt;"/>
              <a:defRPr sz="3413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844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625535" indent="-325106">
              <a:buSzPct val="100000"/>
              <a:buFont typeface="Lucida Grande"/>
              <a:buChar char="&gt;"/>
              <a:defRPr sz="256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2276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925960" indent="-325106">
              <a:buFont typeface="Lucida Grande"/>
              <a:buChar char="&gt;"/>
              <a:defRPr sz="1991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>
              <a:defRPr baseline="0">
                <a:solidFill>
                  <a:schemeClr val="tx2"/>
                </a:solidFill>
              </a:defRPr>
            </a:lvl6pPr>
            <a:lvl7pPr>
              <a:defRPr baseline="0">
                <a:solidFill>
                  <a:schemeClr val="tx2"/>
                </a:solidFill>
              </a:defRPr>
            </a:lvl7pPr>
            <a:lvl9pPr>
              <a:defRPr/>
            </a:lvl9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, 20)</a:t>
            </a:r>
          </a:p>
          <a:p>
            <a:pPr lvl="2"/>
            <a:r>
              <a:rPr lang="en-US"/>
              <a:t>Third level (Open Sans, 18)</a:t>
            </a:r>
          </a:p>
          <a:p>
            <a:pPr lvl="3"/>
            <a:r>
              <a:rPr lang="en-US"/>
              <a:t>Fourth level (Open Sans, 16)</a:t>
            </a:r>
          </a:p>
          <a:p>
            <a:pPr lvl="4"/>
            <a:r>
              <a:rPr lang="en-US"/>
              <a:t>Fifth level (Open Sans, 14)</a:t>
            </a:r>
          </a:p>
        </p:txBody>
      </p:sp>
      <p:pic>
        <p:nvPicPr>
          <p:cNvPr id="2" name="Picture 1" descr="Wordmark_center_Purple_HEX.png">
            <a:extLst>
              <a:ext uri="{FF2B5EF4-FFF2-40B4-BE49-F238E27FC236}">
                <a16:creationId xmlns:a16="http://schemas.microsoft.com/office/drawing/2014/main" id="{0F0A494C-4833-D7CA-2848-D19DA1B44CA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8833" y="7035471"/>
            <a:ext cx="3233727" cy="1633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542515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Gold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black and white photo of a building&#10;&#10;Description automatically generated">
            <a:extLst>
              <a:ext uri="{FF2B5EF4-FFF2-40B4-BE49-F238E27FC236}">
                <a16:creationId xmlns:a16="http://schemas.microsoft.com/office/drawing/2014/main" id="{EA2F7952-3752-4F59-A5C6-0DAFDC1D267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5743"/>
          <a:stretch/>
        </p:blipFill>
        <p:spPr>
          <a:xfrm>
            <a:off x="0" y="0"/>
            <a:ext cx="13022990" cy="731520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377A460D-2624-4DC6-901D-A9841102A4B8}"/>
              </a:ext>
            </a:extLst>
          </p:cNvPr>
          <p:cNvSpPr/>
          <p:nvPr/>
        </p:nvSpPr>
        <p:spPr>
          <a:xfrm>
            <a:off x="0" y="0"/>
            <a:ext cx="13022990" cy="7315200"/>
          </a:xfrm>
          <a:prstGeom prst="rect">
            <a:avLst/>
          </a:prstGeom>
          <a:solidFill>
            <a:srgbClr val="E2CA91">
              <a:alpha val="76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56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54755" y="917325"/>
            <a:ext cx="9989035" cy="3757164"/>
          </a:xfrm>
          <a:prstGeom prst="rect">
            <a:avLst/>
          </a:prstGeom>
        </p:spPr>
        <p:txBody>
          <a:bodyPr anchor="b"/>
          <a:lstStyle>
            <a:lvl1pPr algn="l">
              <a:defRPr sz="7111" b="1" i="0" cap="all" baseline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 dirty="0"/>
              <a:t>UWFT PPT TEMPLATE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9902" y="4873174"/>
            <a:ext cx="2271913" cy="198684"/>
          </a:xfrm>
          <a:prstGeom prst="rect">
            <a:avLst/>
          </a:prstGeom>
        </p:spPr>
      </p:pic>
      <p:pic>
        <p:nvPicPr>
          <p:cNvPr id="3" name="Picture 2" descr="Wordmark_center_Purple_HEX.png">
            <a:extLst>
              <a:ext uri="{FF2B5EF4-FFF2-40B4-BE49-F238E27FC236}">
                <a16:creationId xmlns:a16="http://schemas.microsoft.com/office/drawing/2014/main" id="{E83C033D-B55F-DDA9-79B8-893841B071F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8833" y="7035471"/>
            <a:ext cx="3233727" cy="1633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379750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955388" y="2182464"/>
            <a:ext cx="9916160" cy="281787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5335" b="1" i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8771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42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313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84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TITLE HERE</a:t>
            </a:r>
          </a:p>
          <a:p>
            <a:pPr lvl="0"/>
            <a:r>
              <a:rPr lang="en-US"/>
              <a:t>ENCODE NORMAL</a:t>
            </a:r>
          </a:p>
          <a:p>
            <a:pPr lvl="0"/>
            <a:r>
              <a:rPr lang="en-US"/>
              <a:t>BLACK, 50 PT. 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08570" y="5000337"/>
            <a:ext cx="2275840" cy="149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827013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+ Sub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955389" y="396277"/>
            <a:ext cx="11640409" cy="49969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None/>
              <a:defRPr sz="3200" b="0" i="0" baseline="0">
                <a:solidFill>
                  <a:srgbClr val="33006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8771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42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313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84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ARIAL BLACK</a:t>
            </a:r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937681" y="1643486"/>
            <a:ext cx="11658117" cy="4895529"/>
          </a:xfrm>
          <a:prstGeom prst="rect">
            <a:avLst/>
          </a:prstGeom>
        </p:spPr>
        <p:txBody>
          <a:bodyPr/>
          <a:lstStyle>
            <a:lvl1pPr marL="365782" indent="-365782">
              <a:buFont typeface="Lucida Grande"/>
              <a:buChar char="&gt;"/>
              <a:defRPr sz="2560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 sz="2133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219277" indent="-243856">
              <a:buSzPct val="100000"/>
              <a:buFont typeface="Lucida Grande"/>
              <a:buChar char="&gt;"/>
              <a:defRPr sz="1920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>
              <a:defRPr sz="1707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2194698" indent="-243856">
              <a:buFont typeface="Lucida Grande"/>
              <a:buChar char="&gt;"/>
              <a:defRPr sz="1493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US"/>
              <a:t>Content here (Calibri Regular, 24 pt.)</a:t>
            </a:r>
          </a:p>
          <a:p>
            <a:pPr lvl="1"/>
            <a:r>
              <a:rPr lang="en-US"/>
              <a:t>Second level (Calibri Regular, 20)</a:t>
            </a:r>
          </a:p>
          <a:p>
            <a:pPr lvl="2"/>
            <a:r>
              <a:rPr lang="en-US"/>
              <a:t>Third level (Calibri Regular, 18)</a:t>
            </a:r>
          </a:p>
          <a:p>
            <a:pPr lvl="3"/>
            <a:r>
              <a:rPr lang="en-US"/>
              <a:t>Fourth level (Calibri Regular, 16)</a:t>
            </a:r>
          </a:p>
          <a:p>
            <a:pPr lvl="4"/>
            <a:r>
              <a:rPr lang="en-US"/>
              <a:t>Fifth level (Calibri Regular, 14)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43678" y="910016"/>
            <a:ext cx="1569822" cy="102786"/>
          </a:xfrm>
          <a:prstGeom prst="rect">
            <a:avLst/>
          </a:prstGeom>
        </p:spPr>
      </p:pic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955389" y="1108854"/>
            <a:ext cx="11640409" cy="4385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2560" b="0" i="0" baseline="0">
                <a:solidFill>
                  <a:srgbClr val="33006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8771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42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313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84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CALIBRI LIGHT, 24 PT.)</a:t>
            </a:r>
          </a:p>
        </p:txBody>
      </p:sp>
      <p:sp>
        <p:nvSpPr>
          <p:cNvPr id="8" name="Slide Number Placeholder 10">
            <a:extLst>
              <a:ext uri="{FF2B5EF4-FFF2-40B4-BE49-F238E27FC236}">
                <a16:creationId xmlns:a16="http://schemas.microsoft.com/office/drawing/2014/main" id="{78F71BE9-DB46-44C0-935E-5B995B95F6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387553" y="6922426"/>
            <a:ext cx="453426" cy="38946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CDA41B0-E16D-48B4-8B5D-6BC89192C44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650283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E968516-223E-48D2-BE13-88A96C431C8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695" y="1695"/>
          <a:ext cx="1693" cy="16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24" imgH="526" progId="TCLayout.ActiveDocument.1">
                  <p:embed/>
                </p:oleObj>
              </mc:Choice>
              <mc:Fallback>
                <p:oleObj name="think-cell Slide" r:id="rId3" imgW="524" imgH="5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E968516-223E-48D2-BE13-88A96C431C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95" y="1695"/>
                        <a:ext cx="1693" cy="169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713436" y="396280"/>
            <a:ext cx="11640409" cy="47701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None/>
              <a:defRPr sz="3200" b="0" i="0" baseline="0">
                <a:solidFill>
                  <a:srgbClr val="33006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8771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42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313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84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HEADER HERE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695726" y="1100118"/>
            <a:ext cx="11656832" cy="5417556"/>
          </a:xfrm>
          <a:prstGeom prst="rect">
            <a:avLst/>
          </a:prstGeom>
        </p:spPr>
        <p:txBody>
          <a:bodyPr/>
          <a:lstStyle>
            <a:lvl1pPr marL="365782" indent="-365782">
              <a:buFont typeface="Lucida Grande"/>
              <a:buChar char="&gt;"/>
              <a:defRPr sz="2560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 sz="2133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219277" indent="-243856">
              <a:buSzPct val="100000"/>
              <a:buFont typeface="Lucida Grande"/>
              <a:buChar char="&gt;"/>
              <a:defRPr sz="1920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>
              <a:defRPr sz="1707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2194698" indent="-243856">
              <a:buFont typeface="Lucida Grande"/>
              <a:buChar char="&gt;"/>
              <a:defRPr sz="1493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US"/>
              <a:t>Bulleted content here (Calibri Regular, 24 pt.)</a:t>
            </a:r>
          </a:p>
          <a:p>
            <a:pPr lvl="1"/>
            <a:r>
              <a:rPr lang="en-US"/>
              <a:t>Second level (Calibri Regular, 20)</a:t>
            </a:r>
          </a:p>
          <a:p>
            <a:pPr lvl="2"/>
            <a:r>
              <a:rPr lang="en-US"/>
              <a:t>Third level (Calibri Regular, 18)</a:t>
            </a:r>
          </a:p>
          <a:p>
            <a:pPr lvl="3"/>
            <a:r>
              <a:rPr lang="en-US"/>
              <a:t>Fourth level (Calibri Regular, 16)</a:t>
            </a:r>
          </a:p>
          <a:p>
            <a:pPr lvl="4"/>
            <a:r>
              <a:rPr lang="en-US"/>
              <a:t>Fifth level (Calibri Regular, 14)</a:t>
            </a:r>
          </a:p>
        </p:txBody>
      </p:sp>
      <p:sp>
        <p:nvSpPr>
          <p:cNvPr id="12" name="Slide Number Placeholder 10">
            <a:extLst>
              <a:ext uri="{FF2B5EF4-FFF2-40B4-BE49-F238E27FC236}">
                <a16:creationId xmlns:a16="http://schemas.microsoft.com/office/drawing/2014/main" id="{A2ED9C39-E899-4AC0-8CCE-662F985473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78177" y="6922425"/>
            <a:ext cx="453426" cy="38946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CDA41B0-E16D-48B4-8B5D-6BC89192C442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DAA379F-56FD-4016-8B55-9764BFAF57C5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702459" y="910016"/>
            <a:ext cx="1569822" cy="102786"/>
          </a:xfrm>
          <a:prstGeom prst="rect">
            <a:avLst/>
          </a:prstGeom>
        </p:spPr>
      </p:pic>
      <p:pic>
        <p:nvPicPr>
          <p:cNvPr id="7" name="Picture 6" descr="Wordmark_center_Purple_HEX.png">
            <a:extLst>
              <a:ext uri="{FF2B5EF4-FFF2-40B4-BE49-F238E27FC236}">
                <a16:creationId xmlns:a16="http://schemas.microsoft.com/office/drawing/2014/main" id="{FF9AE015-4330-45B0-AE11-435654E037F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8833" y="7035471"/>
            <a:ext cx="3233727" cy="1633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865972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Slide">
    <p:spTree>
      <p:nvGrpSpPr>
        <p:cNvPr id="1" name="Shape 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hape 8"/>
          <p:cNvSpPr txBox="1">
            <a:spLocks noGrp="1"/>
          </p:cNvSpPr>
          <p:nvPr>
            <p:ph type="body" idx="1"/>
          </p:nvPr>
        </p:nvSpPr>
        <p:spPr>
          <a:xfrm>
            <a:off x="955388" y="2182463"/>
            <a:ext cx="9916159" cy="2817872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b" anchorCtr="0"/>
          <a:lstStyle>
            <a:lvl1pPr marL="0" marR="0" lvl="0" indent="0" algn="l" rtl="0">
              <a:lnSpc>
                <a:spcPct val="100000"/>
              </a:lnSpc>
              <a:spcBef>
                <a:spcPts val="1067"/>
              </a:spcBef>
              <a:buClr>
                <a:schemeClr val="dk1"/>
              </a:buClr>
              <a:buFont typeface="Arial"/>
              <a:buNone/>
              <a:defRPr sz="5335" b="1" i="0" u="none" strike="noStrike" cap="none">
                <a:solidFill>
                  <a:schemeClr val="dk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Encode Sans Black"/>
              </a:defRPr>
            </a:lvl1pPr>
            <a:lvl2pPr marL="487710" marR="0" lvl="1" indent="0" algn="l" rtl="0">
              <a:spcBef>
                <a:spcPts val="597"/>
              </a:spcBef>
              <a:buClr>
                <a:srgbClr val="E8D3A2"/>
              </a:buClr>
              <a:buFont typeface="Arial"/>
              <a:buChar char="○"/>
              <a:defRPr sz="2987" b="0" i="0" u="none" strike="noStrike" cap="none">
                <a:solidFill>
                  <a:srgbClr val="E8D3A2"/>
                </a:solidFill>
                <a:latin typeface="Encode Sans Black"/>
                <a:ea typeface="Encode Sans Black"/>
                <a:cs typeface="Encode Sans Black"/>
                <a:sym typeface="Encode Sans Black"/>
              </a:defRPr>
            </a:lvl2pPr>
            <a:lvl3pPr marL="975420" marR="0" lvl="2" indent="0" algn="l" rtl="0">
              <a:spcBef>
                <a:spcPts val="512"/>
              </a:spcBef>
              <a:buClr>
                <a:srgbClr val="E8D3A2"/>
              </a:buClr>
              <a:buFont typeface="Arial"/>
              <a:buChar char="■"/>
              <a:defRPr sz="2560" b="0" i="0" u="none" strike="noStrike" cap="none">
                <a:solidFill>
                  <a:srgbClr val="E8D3A2"/>
                </a:solidFill>
                <a:latin typeface="Encode Sans Black"/>
                <a:ea typeface="Encode Sans Black"/>
                <a:cs typeface="Encode Sans Black"/>
                <a:sym typeface="Encode Sans Black"/>
              </a:defRPr>
            </a:lvl3pPr>
            <a:lvl4pPr marL="1463132" marR="0" lvl="3" indent="0" algn="l" rtl="0">
              <a:spcBef>
                <a:spcPts val="427"/>
              </a:spcBef>
              <a:buClr>
                <a:srgbClr val="E8D3A2"/>
              </a:buClr>
              <a:buFont typeface="Arial"/>
              <a:buChar char="●"/>
              <a:defRPr sz="2133" b="0" i="0" u="none" strike="noStrike" cap="none">
                <a:solidFill>
                  <a:srgbClr val="E8D3A2"/>
                </a:solidFill>
                <a:latin typeface="Encode Sans Black"/>
                <a:ea typeface="Encode Sans Black"/>
                <a:cs typeface="Encode Sans Black"/>
                <a:sym typeface="Encode Sans Black"/>
              </a:defRPr>
            </a:lvl4pPr>
            <a:lvl5pPr marL="1950842" marR="0" lvl="4" indent="0" algn="l" rtl="0">
              <a:spcBef>
                <a:spcPts val="427"/>
              </a:spcBef>
              <a:buClr>
                <a:srgbClr val="E8D3A2"/>
              </a:buClr>
              <a:buFont typeface="Arial"/>
              <a:buChar char="○"/>
              <a:defRPr sz="2133" b="0" i="0" u="none" strike="noStrike" cap="none">
                <a:solidFill>
                  <a:srgbClr val="E8D3A2"/>
                </a:solidFill>
                <a:latin typeface="Encode Sans Black"/>
                <a:ea typeface="Encode Sans Black"/>
                <a:cs typeface="Encode Sans Black"/>
                <a:sym typeface="Encode Sans Black"/>
              </a:defRPr>
            </a:lvl5pPr>
            <a:lvl6pPr marL="2682408" marR="0" lvl="5" indent="-108380" algn="l" rtl="0">
              <a:spcBef>
                <a:spcPts val="427"/>
              </a:spcBef>
              <a:buClr>
                <a:schemeClr val="dk1"/>
              </a:buClr>
              <a:buSzPct val="100000"/>
              <a:buFont typeface="Arial"/>
              <a:buChar char="•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170118" marR="0" lvl="6" indent="-108380" algn="l" rtl="0">
              <a:spcBef>
                <a:spcPts val="427"/>
              </a:spcBef>
              <a:buClr>
                <a:schemeClr val="dk1"/>
              </a:buClr>
              <a:buSzPct val="100000"/>
              <a:buFont typeface="Arial"/>
              <a:buChar char="•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828" marR="0" lvl="7" indent="-108380" algn="l" rtl="0">
              <a:spcBef>
                <a:spcPts val="427"/>
              </a:spcBef>
              <a:buClr>
                <a:schemeClr val="dk1"/>
              </a:buClr>
              <a:buSzPct val="100000"/>
              <a:buFont typeface="Arial"/>
              <a:buChar char="•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45540" marR="0" lvl="8" indent="-108380" algn="l" rtl="0">
              <a:spcBef>
                <a:spcPts val="427"/>
              </a:spcBef>
              <a:buClr>
                <a:schemeClr val="dk1"/>
              </a:buClr>
              <a:buSzPct val="100000"/>
              <a:buFont typeface="Arial"/>
              <a:buChar char="•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pic>
        <p:nvPicPr>
          <p:cNvPr id="9" name="Shape 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08570" y="5000339"/>
            <a:ext cx="2275839" cy="149012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Slide Number Placeholder 10">
            <a:extLst>
              <a:ext uri="{FF2B5EF4-FFF2-40B4-BE49-F238E27FC236}">
                <a16:creationId xmlns:a16="http://schemas.microsoft.com/office/drawing/2014/main" id="{2D440B6F-09BA-43C6-832A-57F4362E0F3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387553" y="6922426"/>
            <a:ext cx="453426" cy="38946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CDA41B0-E16D-48B4-8B5D-6BC89192C44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201600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955388" y="2182464"/>
            <a:ext cx="9916160" cy="281787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5335" b="1" i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8771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42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313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84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TITLE HERE</a:t>
            </a:r>
          </a:p>
          <a:p>
            <a:pPr lvl="0"/>
            <a:r>
              <a:rPr lang="en-US"/>
              <a:t>ENCODE NORMAL</a:t>
            </a:r>
          </a:p>
          <a:p>
            <a:pPr lvl="0"/>
            <a:r>
              <a:rPr lang="en-US"/>
              <a:t>BLACK, 50 PT. 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08570" y="5000337"/>
            <a:ext cx="2275840" cy="149013"/>
          </a:xfrm>
          <a:prstGeom prst="rect">
            <a:avLst/>
          </a:prstGeom>
        </p:spPr>
      </p:pic>
      <p:sp>
        <p:nvSpPr>
          <p:cNvPr id="7" name="Slide Number Placeholder 10">
            <a:extLst>
              <a:ext uri="{FF2B5EF4-FFF2-40B4-BE49-F238E27FC236}">
                <a16:creationId xmlns:a16="http://schemas.microsoft.com/office/drawing/2014/main" id="{100E6950-6D26-4962-AB43-36CB8D6AF8A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387553" y="6922426"/>
            <a:ext cx="453426" cy="38946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CDA41B0-E16D-48B4-8B5D-6BC89192C44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629109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eader + Sub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955389" y="396277"/>
            <a:ext cx="11640409" cy="49969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None/>
              <a:defRPr sz="3200" b="0" i="0" baseline="0">
                <a:solidFill>
                  <a:srgbClr val="33006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8771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42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313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84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ARIAL BLACK</a:t>
            </a:r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937681" y="1643486"/>
            <a:ext cx="11658117" cy="4895529"/>
          </a:xfrm>
          <a:prstGeom prst="rect">
            <a:avLst/>
          </a:prstGeom>
        </p:spPr>
        <p:txBody>
          <a:bodyPr/>
          <a:lstStyle>
            <a:lvl1pPr marL="365782" indent="-365782">
              <a:buFont typeface="Lucida Grande"/>
              <a:buChar char="&gt;"/>
              <a:defRPr sz="2560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 sz="2133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219277" indent="-243856">
              <a:buSzPct val="100000"/>
              <a:buFont typeface="Lucida Grande"/>
              <a:buChar char="&gt;"/>
              <a:defRPr sz="1920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>
              <a:defRPr sz="1707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2194698" indent="-243856">
              <a:buFont typeface="Lucida Grande"/>
              <a:buChar char="&gt;"/>
              <a:defRPr sz="1493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US"/>
              <a:t>Content here (Calibri Regular, 24 pt.)</a:t>
            </a:r>
          </a:p>
          <a:p>
            <a:pPr lvl="1"/>
            <a:r>
              <a:rPr lang="en-US"/>
              <a:t>Second level (Calibri Regular, 20)</a:t>
            </a:r>
          </a:p>
          <a:p>
            <a:pPr lvl="2"/>
            <a:r>
              <a:rPr lang="en-US"/>
              <a:t>Third level (Calibri Regular, 18)</a:t>
            </a:r>
          </a:p>
          <a:p>
            <a:pPr lvl="3"/>
            <a:r>
              <a:rPr lang="en-US"/>
              <a:t>Fourth level (Calibri Regular, 16)</a:t>
            </a:r>
          </a:p>
          <a:p>
            <a:pPr lvl="4"/>
            <a:r>
              <a:rPr lang="en-US"/>
              <a:t>Fifth level (Calibri Regular, 14)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955389" y="1108854"/>
            <a:ext cx="11640409" cy="4385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2560" b="0" i="0" baseline="0">
                <a:solidFill>
                  <a:srgbClr val="33006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8771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42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313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84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CALIBRI LIGHT, 24 PT.)</a:t>
            </a:r>
          </a:p>
        </p:txBody>
      </p:sp>
      <p:sp>
        <p:nvSpPr>
          <p:cNvPr id="7" name="Slide Number Placeholder 10">
            <a:extLst>
              <a:ext uri="{FF2B5EF4-FFF2-40B4-BE49-F238E27FC236}">
                <a16:creationId xmlns:a16="http://schemas.microsoft.com/office/drawing/2014/main" id="{1D059199-1963-420E-8D6C-6D1537FA699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387553" y="6922426"/>
            <a:ext cx="453426" cy="38946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CDA41B0-E16D-48B4-8B5D-6BC89192C442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9132001-8C2F-4802-B20A-1EFB92B9646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43678" y="910016"/>
            <a:ext cx="1569822" cy="1027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980281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713436" y="396280"/>
            <a:ext cx="11640409" cy="47701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None/>
              <a:defRPr sz="3200" b="0" i="0" baseline="0">
                <a:solidFill>
                  <a:srgbClr val="33006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8771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42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313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84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HEADER HERE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695726" y="1100118"/>
            <a:ext cx="11656832" cy="5417556"/>
          </a:xfrm>
          <a:prstGeom prst="rect">
            <a:avLst/>
          </a:prstGeom>
        </p:spPr>
        <p:txBody>
          <a:bodyPr/>
          <a:lstStyle>
            <a:lvl1pPr marL="365782" indent="-365782">
              <a:buFont typeface="Lucida Grande"/>
              <a:buChar char="&gt;"/>
              <a:defRPr sz="2560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 sz="2133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219277" indent="-243856">
              <a:buSzPct val="100000"/>
              <a:buFont typeface="Lucida Grande"/>
              <a:buChar char="&gt;"/>
              <a:defRPr sz="1920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>
              <a:defRPr sz="1707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2194698" indent="-243856">
              <a:buFont typeface="Lucida Grande"/>
              <a:buChar char="&gt;"/>
              <a:defRPr sz="1493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US"/>
              <a:t>Bulleted content here (Calibri Regular, 24 pt.)</a:t>
            </a:r>
          </a:p>
          <a:p>
            <a:pPr lvl="1"/>
            <a:r>
              <a:rPr lang="en-US"/>
              <a:t>Second level (Calibri Regular, 20)</a:t>
            </a:r>
          </a:p>
          <a:p>
            <a:pPr lvl="2"/>
            <a:r>
              <a:rPr lang="en-US"/>
              <a:t>Third level (Calibri Regular, 18)</a:t>
            </a:r>
          </a:p>
          <a:p>
            <a:pPr lvl="3"/>
            <a:r>
              <a:rPr lang="en-US"/>
              <a:t>Fourth level (Calibri Regular, 16)</a:t>
            </a:r>
          </a:p>
          <a:p>
            <a:pPr lvl="4"/>
            <a:r>
              <a:rPr lang="en-US"/>
              <a:t>Fifth level (Calibri Regular, 14)</a:t>
            </a:r>
          </a:p>
        </p:txBody>
      </p:sp>
      <p:sp>
        <p:nvSpPr>
          <p:cNvPr id="5" name="Slide Number Placeholder 10">
            <a:extLst>
              <a:ext uri="{FF2B5EF4-FFF2-40B4-BE49-F238E27FC236}">
                <a16:creationId xmlns:a16="http://schemas.microsoft.com/office/drawing/2014/main" id="{AE2EC6D8-DAC9-45D3-A4B8-1A4CE5BD2D4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387553" y="6922426"/>
            <a:ext cx="453426" cy="38946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CDA41B0-E16D-48B4-8B5D-6BC89192C442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27943F8-2FA9-4CB9-962D-3A78D199DBC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43678" y="910016"/>
            <a:ext cx="1569822" cy="1027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727315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bg>
      <p:bgPr>
        <a:solidFill>
          <a:srgbClr val="4B2E8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Bar_RtAngle_7502_RGB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7105" y="4273157"/>
            <a:ext cx="3248786" cy="120288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955388" y="1258480"/>
            <a:ext cx="9916160" cy="2817873"/>
          </a:xfrm>
          <a:prstGeom prst="rect">
            <a:avLst/>
          </a:prstGeom>
        </p:spPr>
        <p:txBody>
          <a:bodyPr anchor="b"/>
          <a:lstStyle>
            <a:lvl1pPr algn="l">
              <a:defRPr sz="5335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TITLE HERE</a:t>
            </a:r>
            <a:br>
              <a:rPr lang="en-US"/>
            </a:br>
            <a:r>
              <a:rPr lang="en-US"/>
              <a:t>ENCODE NORMAL</a:t>
            </a:r>
            <a:br>
              <a:rPr lang="en-US"/>
            </a:br>
            <a:r>
              <a:rPr lang="en-US"/>
              <a:t>BLACK, 50 PT. </a:t>
            </a:r>
          </a:p>
        </p:txBody>
      </p:sp>
      <p:pic>
        <p:nvPicPr>
          <p:cNvPr id="5" name="Picture 4" descr="W logo">
            <a:extLst>
              <a:ext uri="{FF2B5EF4-FFF2-40B4-BE49-F238E27FC236}">
                <a16:creationId xmlns:a16="http://schemas.microsoft.com/office/drawing/2014/main" id="{9356CDDB-ECC1-BFF4-969D-8EEBA9B6016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92389" y="6218877"/>
            <a:ext cx="1371600" cy="9235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3629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15399" y="6586002"/>
            <a:ext cx="3381247" cy="442406"/>
          </a:xfrm>
          <a:prstGeom prst="rect">
            <a:avLst/>
          </a:prstGeom>
        </p:spPr>
      </p:pic>
      <p:sp>
        <p:nvSpPr>
          <p:cNvPr id="15" name="Slide Number Placeholder 10">
            <a:extLst>
              <a:ext uri="{FF2B5EF4-FFF2-40B4-BE49-F238E27FC236}">
                <a16:creationId xmlns:a16="http://schemas.microsoft.com/office/drawing/2014/main" id="{A2ED9C39-E899-4AC0-8CCE-662F985473A4}"/>
              </a:ext>
            </a:extLst>
          </p:cNvPr>
          <p:cNvSpPr txBox="1">
            <a:spLocks/>
          </p:cNvSpPr>
          <p:nvPr userDrawn="1"/>
        </p:nvSpPr>
        <p:spPr>
          <a:xfrm>
            <a:off x="261838" y="6727693"/>
            <a:ext cx="453426" cy="389467"/>
          </a:xfrm>
          <a:prstGeom prst="rect">
            <a:avLst/>
          </a:prstGeom>
        </p:spPr>
        <p:txBody>
          <a:bodyPr vert="horz" lIns="97536" tIns="48768" rIns="97536" bIns="48768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877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DA41B0-E16D-48B4-8B5D-6BC89192C442}" type="slidenum">
              <a:rPr kumimoji="0" lang="en-US" sz="1280" b="0" i="0" u="none" strike="noStrike" kern="1200" cap="none" spc="0" normalizeH="0" baseline="0" noProof="0" smtClean="0">
                <a:ln>
                  <a:noFill/>
                </a:ln>
                <a:solidFill>
                  <a:srgbClr val="33006F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77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80" b="0" i="0" u="none" strike="noStrike" kern="1200" cap="none" spc="0" normalizeH="0" baseline="0" noProof="0" dirty="0">
              <a:ln>
                <a:noFill/>
              </a:ln>
              <a:solidFill>
                <a:srgbClr val="33006F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715264" y="474018"/>
            <a:ext cx="11481380" cy="571942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(ENCODE NORMAL BLACK, 30 PT.)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715264" y="1996071"/>
            <a:ext cx="11481380" cy="4323789"/>
          </a:xfrm>
          <a:prstGeom prst="rect">
            <a:avLst/>
          </a:prstGeom>
        </p:spPr>
        <p:txBody>
          <a:bodyPr/>
          <a:lstStyle>
            <a:lvl1pPr marL="365782" indent="-365782">
              <a:buFont typeface="Lucida Grande"/>
              <a:buChar char="&gt;"/>
              <a:defRPr sz="2560" b="1" i="0" baseline="0">
                <a:solidFill>
                  <a:schemeClr val="tx1"/>
                </a:solidFill>
                <a:latin typeface="Open Sans"/>
                <a:cs typeface="Open Sans"/>
              </a:defRPr>
            </a:lvl1pPr>
            <a:lvl2pPr>
              <a:defRPr sz="2133" b="1" i="0" baseline="0">
                <a:solidFill>
                  <a:schemeClr val="tx1"/>
                </a:solidFill>
                <a:latin typeface="Open Sans"/>
                <a:cs typeface="Open Sans"/>
              </a:defRPr>
            </a:lvl2pPr>
            <a:lvl3pPr marL="1219277" indent="-243856">
              <a:buSzPct val="100000"/>
              <a:buFont typeface="Lucida Grande"/>
              <a:buChar char="&gt;"/>
              <a:defRPr sz="1920" b="1" i="0" baseline="0">
                <a:solidFill>
                  <a:schemeClr val="tx1"/>
                </a:solidFill>
                <a:latin typeface="Open Sans"/>
                <a:cs typeface="Open Sans"/>
              </a:defRPr>
            </a:lvl3pPr>
            <a:lvl4pPr>
              <a:defRPr sz="1707" b="1" i="0" baseline="0">
                <a:solidFill>
                  <a:schemeClr val="tx1"/>
                </a:solidFill>
                <a:latin typeface="Open Sans"/>
                <a:cs typeface="Open Sans"/>
              </a:defRPr>
            </a:lvl4pPr>
            <a:lvl5pPr marL="2194698" indent="-243856">
              <a:buFont typeface="Lucida Grande"/>
              <a:buChar char="&gt;"/>
              <a:defRPr sz="1493" b="1" i="0" baseline="0">
                <a:solidFill>
                  <a:schemeClr val="tx1"/>
                </a:solidFill>
                <a:latin typeface="Open Sans"/>
                <a:cs typeface="Open Sans"/>
              </a:defRPr>
            </a:lvl5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 Bold, 20)</a:t>
            </a:r>
          </a:p>
          <a:p>
            <a:pPr lvl="2"/>
            <a:r>
              <a:rPr lang="en-US"/>
              <a:t>Third level (Open Sans Bold, 18)</a:t>
            </a:r>
          </a:p>
          <a:p>
            <a:pPr lvl="3"/>
            <a:r>
              <a:rPr lang="en-US"/>
              <a:t>Fourth level (Open Sans Bold, 16)</a:t>
            </a:r>
          </a:p>
          <a:p>
            <a:pPr lvl="4"/>
            <a:r>
              <a:rPr lang="en-US"/>
              <a:t>Fifth level (Open Sans Bold, 14)</a:t>
            </a: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15265" y="1147090"/>
            <a:ext cx="1177366" cy="1027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620634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er Only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10">
            <a:extLst>
              <a:ext uri="{FF2B5EF4-FFF2-40B4-BE49-F238E27FC236}">
                <a16:creationId xmlns:a16="http://schemas.microsoft.com/office/drawing/2014/main" id="{A2ED9C39-E899-4AC0-8CCE-662F985473A4}"/>
              </a:ext>
            </a:extLst>
          </p:cNvPr>
          <p:cNvSpPr txBox="1">
            <a:spLocks/>
          </p:cNvSpPr>
          <p:nvPr userDrawn="1"/>
        </p:nvSpPr>
        <p:spPr>
          <a:xfrm>
            <a:off x="261838" y="6727692"/>
            <a:ext cx="453426" cy="389467"/>
          </a:xfrm>
          <a:prstGeom prst="rect">
            <a:avLst/>
          </a:prstGeom>
        </p:spPr>
        <p:txBody>
          <a:bodyPr vert="horz" lIns="97536" tIns="48768" rIns="97536" bIns="48768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876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DA41B0-E16D-48B4-8B5D-6BC89192C442}" type="slidenum">
              <a:rPr kumimoji="0" lang="en-US" sz="1280" b="0" i="0" u="none" strike="noStrike" kern="1200" cap="none" spc="0" normalizeH="0" baseline="0" noProof="0" smtClean="0">
                <a:ln>
                  <a:noFill/>
                </a:ln>
                <a:solidFill>
                  <a:srgbClr val="33006F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769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80" b="0" i="0" u="none" strike="noStrike" kern="1200" cap="none" spc="0" normalizeH="0" baseline="0" noProof="0">
              <a:ln>
                <a:noFill/>
              </a:ln>
              <a:solidFill>
                <a:srgbClr val="33006F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715264" y="117980"/>
            <a:ext cx="11481380" cy="571942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(ENCODE NORMAL BLACK, 30 PT.)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15265" y="785345"/>
            <a:ext cx="1177366" cy="102786"/>
          </a:xfrm>
          <a:prstGeom prst="rect">
            <a:avLst/>
          </a:prstGeom>
        </p:spPr>
      </p:pic>
      <p:pic>
        <p:nvPicPr>
          <p:cNvPr id="2" name="Picture 1" descr="Wordmark_center_Purple_HEX.png">
            <a:extLst>
              <a:ext uri="{FF2B5EF4-FFF2-40B4-BE49-F238E27FC236}">
                <a16:creationId xmlns:a16="http://schemas.microsoft.com/office/drawing/2014/main" id="{9589A103-9F95-EE63-89D6-9EE6A7F4889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8833" y="7035471"/>
            <a:ext cx="3233727" cy="1633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301491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black and white photo of a building&#10;&#10;Description automatically generated">
            <a:extLst>
              <a:ext uri="{FF2B5EF4-FFF2-40B4-BE49-F238E27FC236}">
                <a16:creationId xmlns:a16="http://schemas.microsoft.com/office/drawing/2014/main" id="{EB2F8426-EDA2-431E-90A5-D5F79C865FB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5743"/>
          <a:stretch/>
        </p:blipFill>
        <p:spPr>
          <a:xfrm>
            <a:off x="0" y="0"/>
            <a:ext cx="13022990" cy="73152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24EE3DC5-1EDA-4DA5-AE86-8537D59D523A}"/>
              </a:ext>
            </a:extLst>
          </p:cNvPr>
          <p:cNvSpPr/>
          <p:nvPr userDrawn="1"/>
        </p:nvSpPr>
        <p:spPr>
          <a:xfrm>
            <a:off x="-18191" y="0"/>
            <a:ext cx="13041181" cy="7315200"/>
          </a:xfrm>
          <a:prstGeom prst="rect">
            <a:avLst/>
          </a:prstGeom>
          <a:solidFill>
            <a:schemeClr val="bg2">
              <a:alpha val="76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560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07937" y="4873173"/>
            <a:ext cx="2275840" cy="198685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54755" y="917324"/>
            <a:ext cx="9989035" cy="3757164"/>
          </a:xfrm>
          <a:prstGeom prst="rect">
            <a:avLst/>
          </a:prstGeom>
        </p:spPr>
        <p:txBody>
          <a:bodyPr anchor="b"/>
          <a:lstStyle>
            <a:lvl1pPr algn="l">
              <a:defRPr sz="7112" b="1" i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TITLE HERE</a:t>
            </a:r>
            <a:br>
              <a:rPr lang="en-US"/>
            </a:br>
            <a:r>
              <a:rPr lang="en-US"/>
              <a:t>ENCODE NORMAL</a:t>
            </a:r>
            <a:br>
              <a:rPr lang="en-US"/>
            </a:br>
            <a:r>
              <a:rPr lang="en-US"/>
              <a:t>BLACK, 50 PT. </a:t>
            </a:r>
          </a:p>
        </p:txBody>
      </p:sp>
      <p:pic>
        <p:nvPicPr>
          <p:cNvPr id="2" name="Picture 1" descr="Wordmark_center_Purple_HEX.png">
            <a:extLst>
              <a:ext uri="{FF2B5EF4-FFF2-40B4-BE49-F238E27FC236}">
                <a16:creationId xmlns:a16="http://schemas.microsoft.com/office/drawing/2014/main" id="{ACF8C578-5433-9C13-0053-05BD4C8DED1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8833" y="7035471"/>
            <a:ext cx="3233727" cy="1633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289064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5B89A2-AD67-685A-3C26-9F15EC1E89D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625600" y="1197187"/>
            <a:ext cx="9753600" cy="2546773"/>
          </a:xfrm>
        </p:spPr>
        <p:txBody>
          <a:bodyPr anchor="b"/>
          <a:lstStyle>
            <a:lvl1pPr algn="ctr">
              <a:defRPr sz="6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72DF9E8-3201-7E95-1DB8-2F5E3C9DB72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625600" y="3842174"/>
            <a:ext cx="9753600" cy="1766146"/>
          </a:xfrm>
        </p:spPr>
        <p:txBody>
          <a:bodyPr/>
          <a:lstStyle>
            <a:lvl1pPr marL="0" indent="0" algn="ctr">
              <a:buNone/>
              <a:defRPr sz="2560"/>
            </a:lvl1pPr>
            <a:lvl2pPr marL="487695" indent="0" algn="ctr">
              <a:buNone/>
              <a:defRPr sz="2133"/>
            </a:lvl2pPr>
            <a:lvl3pPr marL="975390" indent="0" algn="ctr">
              <a:buNone/>
              <a:defRPr sz="1920"/>
            </a:lvl3pPr>
            <a:lvl4pPr marL="1463086" indent="0" algn="ctr">
              <a:buNone/>
              <a:defRPr sz="1707"/>
            </a:lvl4pPr>
            <a:lvl5pPr marL="1950781" indent="0" algn="ctr">
              <a:buNone/>
              <a:defRPr sz="1707"/>
            </a:lvl5pPr>
            <a:lvl6pPr marL="2438476" indent="0" algn="ctr">
              <a:buNone/>
              <a:defRPr sz="1707"/>
            </a:lvl6pPr>
            <a:lvl7pPr marL="2926171" indent="0" algn="ctr">
              <a:buNone/>
              <a:defRPr sz="1707"/>
            </a:lvl7pPr>
            <a:lvl8pPr marL="3413867" indent="0" algn="ctr">
              <a:buNone/>
              <a:defRPr sz="1707"/>
            </a:lvl8pPr>
            <a:lvl9pPr marL="3901562" indent="0" algn="ctr">
              <a:buNone/>
              <a:defRPr sz="1707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024B699-A3C8-77BC-B95C-477677A3EE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8130A6-171A-41CD-A435-A3766BFF2223}" type="datetimeFigureOut">
              <a:rPr lang="en-US" smtClean="0"/>
              <a:t>4/8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35718D4-D776-3CE4-E28A-4EACE222CC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157405-4C1E-4DFF-ABD9-427BB4C99B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25CEFC-263F-4D81-9B15-69B887466F8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91138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hite_Content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FF5D961D-A110-46E3-9A8E-CD8C6D050B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0850" y="1235056"/>
            <a:ext cx="1569822" cy="137048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D31FDD31-55CC-498E-B380-86658AA9A7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9336" y="596894"/>
            <a:ext cx="11658118" cy="706685"/>
          </a:xfrm>
          <a:prstGeom prst="rect">
            <a:avLst/>
          </a:prstGeom>
        </p:spPr>
        <p:txBody>
          <a:bodyPr anchor="b"/>
          <a:lstStyle>
            <a:lvl1pPr algn="l">
              <a:defRPr sz="4267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pic>
        <p:nvPicPr>
          <p:cNvPr id="13" name="Picture 12" descr="A screenshot of a cell phone&#10;&#10;Description automatically generated">
            <a:extLst>
              <a:ext uri="{FF2B5EF4-FFF2-40B4-BE49-F238E27FC236}">
                <a16:creationId xmlns:a16="http://schemas.microsoft.com/office/drawing/2014/main" id="{C79536C7-D87B-41F2-87B1-CA35D625272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990818" y="6738111"/>
            <a:ext cx="2017759" cy="262366"/>
          </a:xfrm>
          <a:prstGeom prst="rect">
            <a:avLst/>
          </a:prstGeom>
        </p:spPr>
      </p:pic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3D6390A-DAED-4A47-B7D5-0C5D43422C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7046" y="1773196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3413" b="0" i="0" cap="all" baseline="0">
                <a:solidFill>
                  <a:schemeClr val="tx2"/>
                </a:solidFill>
                <a:latin typeface="Uni Sans" charset="0"/>
                <a:ea typeface="Uni Sans" charset="0"/>
                <a:cs typeface="Uni Sans" charset="0"/>
              </a:defRPr>
            </a:lvl1pPr>
            <a:lvl2pPr marL="650214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1300428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950641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2600854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id="{0F563B1E-89A1-4FA3-9240-3D03D6F93CE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0" y="6924609"/>
            <a:ext cx="821831" cy="390595"/>
          </a:xfrm>
          <a:prstGeom prst="rect">
            <a:avLst/>
          </a:prstGeom>
        </p:spPr>
        <p:txBody>
          <a:bodyPr/>
          <a:lstStyle>
            <a:lvl1pPr>
              <a:defRPr sz="1707">
                <a:solidFill>
                  <a:schemeClr val="tx2"/>
                </a:solidFill>
              </a:defRPr>
            </a:lvl1pPr>
          </a:lstStyle>
          <a:p>
            <a:fld id="{5FC2A098-C205-46C9-9A6D-EB2B2028999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B8E40DE9-6EB0-4F70-9A67-CE64F165993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336" y="2597311"/>
            <a:ext cx="11658118" cy="3202505"/>
          </a:xfrm>
          <a:prstGeom prst="rect">
            <a:avLst/>
          </a:prstGeom>
        </p:spPr>
        <p:txBody>
          <a:bodyPr/>
          <a:lstStyle>
            <a:lvl1pPr marL="487661" indent="-487661">
              <a:buFont typeface="Lucida Grande"/>
              <a:buChar char="&gt;"/>
              <a:defRPr sz="3413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844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625535" indent="-325106">
              <a:buSzPct val="100000"/>
              <a:buFont typeface="Lucida Grande"/>
              <a:buChar char="&gt;"/>
              <a:defRPr sz="256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2276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925960" indent="-325106">
              <a:buFont typeface="Lucida Grande"/>
              <a:buChar char="&gt;"/>
              <a:defRPr sz="1991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>
              <a:defRPr baseline="0">
                <a:solidFill>
                  <a:schemeClr val="tx2"/>
                </a:solidFill>
              </a:defRPr>
            </a:lvl6pPr>
            <a:lvl7pPr>
              <a:defRPr baseline="0">
                <a:solidFill>
                  <a:schemeClr val="tx2"/>
                </a:solidFill>
              </a:defRPr>
            </a:lvl7pPr>
            <a:lvl9pPr>
              <a:defRPr/>
            </a:lvl9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, 20)</a:t>
            </a:r>
          </a:p>
          <a:p>
            <a:pPr lvl="2"/>
            <a:r>
              <a:rPr lang="en-US"/>
              <a:t>Third level (Open Sans, 18)</a:t>
            </a:r>
          </a:p>
          <a:p>
            <a:pPr lvl="3"/>
            <a:r>
              <a:rPr lang="en-US"/>
              <a:t>Fourth level (Open Sans, 16)</a:t>
            </a:r>
          </a:p>
          <a:p>
            <a:pPr lvl="4"/>
            <a:r>
              <a:rPr lang="en-US"/>
              <a:t>Fifth level (Open Sans, 14)</a:t>
            </a:r>
          </a:p>
        </p:txBody>
      </p:sp>
      <p:pic>
        <p:nvPicPr>
          <p:cNvPr id="8" name="Picture 7" descr="A close up of a logo&#10;&#10;Description automatically generated">
            <a:extLst>
              <a:ext uri="{FF2B5EF4-FFF2-40B4-BE49-F238E27FC236}">
                <a16:creationId xmlns:a16="http://schemas.microsoft.com/office/drawing/2014/main" id="{8BBE3CB1-85B5-4757-B841-BEA01AD58912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959848" y="6738120"/>
            <a:ext cx="2335316" cy="303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0653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hite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black and white photo of a building&#10;&#10;Description automatically generated">
            <a:extLst>
              <a:ext uri="{FF2B5EF4-FFF2-40B4-BE49-F238E27FC236}">
                <a16:creationId xmlns:a16="http://schemas.microsoft.com/office/drawing/2014/main" id="{EB2F8426-EDA2-431E-90A5-D5F79C865FB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3022990" cy="73152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24EE3DC5-1EDA-4DA5-AE86-8537D59D523A}"/>
              </a:ext>
            </a:extLst>
          </p:cNvPr>
          <p:cNvSpPr/>
          <p:nvPr userDrawn="1"/>
        </p:nvSpPr>
        <p:spPr>
          <a:xfrm>
            <a:off x="-18190" y="0"/>
            <a:ext cx="13041180" cy="7315200"/>
          </a:xfrm>
          <a:prstGeom prst="rect">
            <a:avLst/>
          </a:prstGeom>
          <a:solidFill>
            <a:schemeClr val="bg2">
              <a:alpha val="76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413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7937" y="4873174"/>
            <a:ext cx="2275840" cy="198684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D6670E9-D6F6-47D6-9BC5-9F07D7E02EC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0" y="6924607"/>
            <a:ext cx="948267" cy="390595"/>
          </a:xfrm>
          <a:prstGeom prst="rect">
            <a:avLst/>
          </a:prstGeom>
        </p:spPr>
        <p:txBody>
          <a:bodyPr/>
          <a:lstStyle>
            <a:lvl1pPr>
              <a:defRPr sz="1707"/>
            </a:lvl1pPr>
          </a:lstStyle>
          <a:p>
            <a:fld id="{95471BDC-C822-445D-A28A-E864ABD6C12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73D107E-ADB1-47E1-ACF9-C0E973B398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4755" y="917325"/>
            <a:ext cx="9989035" cy="3757164"/>
          </a:xfrm>
          <a:prstGeom prst="rect">
            <a:avLst/>
          </a:prstGeom>
        </p:spPr>
        <p:txBody>
          <a:bodyPr anchor="b"/>
          <a:lstStyle>
            <a:lvl1pPr algn="l">
              <a:defRPr sz="7111" b="1" i="0" cap="all" baseline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TITLE HERE</a:t>
            </a:r>
            <a:br>
              <a:rPr lang="en-US"/>
            </a:br>
            <a:r>
              <a:rPr lang="en-US"/>
              <a:t>ENCODE NORMAL</a:t>
            </a:r>
            <a:br>
              <a:rPr lang="en-US"/>
            </a:br>
            <a:r>
              <a:rPr lang="en-US"/>
              <a:t>BLACK, 50 PT. </a:t>
            </a:r>
          </a:p>
        </p:txBody>
      </p:sp>
      <p:pic>
        <p:nvPicPr>
          <p:cNvPr id="11" name="Picture 10" descr="A close up of a logo&#10;&#10;Description automatically generated">
            <a:extLst>
              <a:ext uri="{FF2B5EF4-FFF2-40B4-BE49-F238E27FC236}">
                <a16:creationId xmlns:a16="http://schemas.microsoft.com/office/drawing/2014/main" id="{DBA03146-095A-4C6A-8036-A9226202CC3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83898" y="6599039"/>
            <a:ext cx="2250270" cy="5332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06909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6410" y="6043210"/>
            <a:ext cx="455110" cy="620004"/>
          </a:xfrm>
          <a:prstGeom prst="rect">
            <a:avLst/>
          </a:prstGeom>
        </p:spPr>
      </p:pic>
      <p:sp>
        <p:nvSpPr>
          <p:cNvPr id="23" name="Title 21"/>
          <p:cNvSpPr>
            <a:spLocks noGrp="1"/>
          </p:cNvSpPr>
          <p:nvPr>
            <p:ph type="title" hasCustomPrompt="1"/>
          </p:nvPr>
        </p:nvSpPr>
        <p:spPr>
          <a:xfrm>
            <a:off x="561418" y="457519"/>
            <a:ext cx="11705995" cy="443924"/>
          </a:xfrm>
          <a:prstGeom prst="rect">
            <a:avLst/>
          </a:prstGeom>
        </p:spPr>
        <p:txBody>
          <a:bodyPr/>
          <a:lstStyle>
            <a:lvl1pPr>
              <a:defRPr sz="3200" cap="all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BLANK PAGE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6900690"/>
            <a:ext cx="13004801" cy="414510"/>
          </a:xfrm>
          <a:prstGeom prst="rect">
            <a:avLst/>
          </a:prstGeom>
        </p:spPr>
      </p:pic>
      <p:sp>
        <p:nvSpPr>
          <p:cNvPr id="2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2327745" y="6967940"/>
            <a:ext cx="514495" cy="389467"/>
          </a:xfrm>
          <a:prstGeom prst="rect">
            <a:avLst/>
          </a:prstGeom>
        </p:spPr>
        <p:txBody>
          <a:bodyPr/>
          <a:lstStyle>
            <a:lvl1pPr>
              <a:defRPr sz="128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algn="r"/>
            <a:fld id="{7E24346F-718D-BC48-AE0E-A004798A23A9}" type="slidenum">
              <a:rPr lang="en-US" smtClean="0"/>
              <a:pPr algn="r"/>
              <a:t>‹#›</a:t>
            </a:fld>
            <a:endParaRPr lang="en-US"/>
          </a:p>
        </p:txBody>
      </p:sp>
      <p:sp>
        <p:nvSpPr>
          <p:cNvPr id="2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938627" y="6967940"/>
            <a:ext cx="4389120" cy="389467"/>
          </a:xfrm>
          <a:prstGeom prst="rect">
            <a:avLst/>
          </a:prstGeom>
        </p:spPr>
        <p:txBody>
          <a:bodyPr/>
          <a:lstStyle>
            <a:lvl1pPr algn="r">
              <a:defRPr sz="128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21898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age -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6412" y="6043211"/>
            <a:ext cx="455110" cy="620004"/>
          </a:xfrm>
          <a:prstGeom prst="rect">
            <a:avLst/>
          </a:prstGeom>
        </p:spPr>
      </p:pic>
      <p:sp>
        <p:nvSpPr>
          <p:cNvPr id="23" name="Title 21"/>
          <p:cNvSpPr>
            <a:spLocks noGrp="1"/>
          </p:cNvSpPr>
          <p:nvPr>
            <p:ph type="title" hasCustomPrompt="1"/>
          </p:nvPr>
        </p:nvSpPr>
        <p:spPr>
          <a:xfrm>
            <a:off x="561418" y="457520"/>
            <a:ext cx="11705995" cy="443924"/>
          </a:xfrm>
          <a:prstGeom prst="rect">
            <a:avLst/>
          </a:prstGeom>
        </p:spPr>
        <p:txBody>
          <a:bodyPr/>
          <a:lstStyle>
            <a:lvl1pPr>
              <a:defRPr sz="3200" cap="all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PAGE </a:t>
            </a:r>
            <a:r>
              <a:rPr lang="mr-IN"/>
              <a:t>–</a:t>
            </a:r>
            <a:r>
              <a:rPr lang="en-US"/>
              <a:t> 2 columns</a:t>
            </a:r>
          </a:p>
        </p:txBody>
      </p:sp>
      <p:sp>
        <p:nvSpPr>
          <p:cNvPr id="24" name="Text Placeholder 29"/>
          <p:cNvSpPr>
            <a:spLocks noGrp="1"/>
          </p:cNvSpPr>
          <p:nvPr>
            <p:ph type="body" sz="quarter" idx="13" hasCustomPrompt="1"/>
          </p:nvPr>
        </p:nvSpPr>
        <p:spPr>
          <a:xfrm>
            <a:off x="562188" y="971114"/>
            <a:ext cx="11694224" cy="409547"/>
          </a:xfrm>
        </p:spPr>
        <p:txBody>
          <a:bodyPr>
            <a:normAutofit/>
          </a:bodyPr>
          <a:lstStyle>
            <a:lvl1pPr marL="0" indent="0">
              <a:buNone/>
              <a:defRPr sz="2347" cap="all" baseline="0">
                <a:solidFill>
                  <a:schemeClr val="bg2">
                    <a:lumMod val="75000"/>
                  </a:schemeClr>
                </a:solidFill>
              </a:defRPr>
            </a:lvl1pPr>
            <a:lvl2pPr marL="487661" indent="0" algn="l">
              <a:buNone/>
              <a:defRPr cap="all" baseline="0"/>
            </a:lvl2pPr>
            <a:lvl3pPr marL="975321" indent="0">
              <a:buNone/>
              <a:defRPr/>
            </a:lvl3pPr>
            <a:lvl4pPr marL="1462982" indent="0">
              <a:buNone/>
              <a:defRPr/>
            </a:lvl4pPr>
            <a:lvl5pPr marL="1950641" indent="0">
              <a:buNone/>
              <a:defRPr/>
            </a:lvl5pPr>
          </a:lstStyle>
          <a:p>
            <a:pPr lvl="0"/>
            <a:r>
              <a:rPr lang="en-US"/>
              <a:t>SUB-TITLE GOES HE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561420" y="1540816"/>
            <a:ext cx="6037503" cy="479573"/>
          </a:xfrm>
        </p:spPr>
        <p:txBody>
          <a:bodyPr>
            <a:normAutofit/>
          </a:bodyPr>
          <a:lstStyle>
            <a:lvl1pPr marL="0" marR="0" indent="0" algn="l" defTabSz="9753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347" baseline="0">
                <a:solidFill>
                  <a:schemeClr val="tx2"/>
                </a:solidFill>
              </a:defRPr>
            </a:lvl1pPr>
          </a:lstStyle>
          <a:p>
            <a:pPr marL="0" marR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347">
                <a:solidFill>
                  <a:schemeClr val="tx1"/>
                </a:solidFill>
                <a:latin typeface="+mn-lt"/>
                <a:cs typeface="Arial"/>
              </a:rPr>
              <a:t>Content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6840735" y="2187788"/>
            <a:ext cx="5870787" cy="4531361"/>
          </a:xfrm>
        </p:spPr>
        <p:txBody>
          <a:bodyPr>
            <a:normAutofit/>
          </a:bodyPr>
          <a:lstStyle>
            <a:lvl1pPr marL="0" indent="0">
              <a:buFont typeface="Arial" charset="0"/>
              <a:buNone/>
              <a:defRPr sz="1920" baseline="0">
                <a:solidFill>
                  <a:schemeClr val="tx2"/>
                </a:solidFill>
              </a:defRPr>
            </a:lvl1pPr>
          </a:lstStyle>
          <a:p>
            <a:r>
              <a:rPr lang="en-CA" sz="192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Tip: The second box is here to use if you need it. Using a 2 column format helps break up line length so your content is easier to read. Or not!—it</a:t>
            </a:r>
            <a:r>
              <a:rPr lang="en-US" sz="1920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’s entirely up to you.</a:t>
            </a:r>
            <a:endParaRPr lang="en-CA" sz="1920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6" hasCustomPrompt="1"/>
          </p:nvPr>
        </p:nvSpPr>
        <p:spPr>
          <a:xfrm>
            <a:off x="562188" y="2187788"/>
            <a:ext cx="6036735" cy="4531361"/>
          </a:xfrm>
        </p:spPr>
        <p:txBody>
          <a:bodyPr>
            <a:normAutofit/>
          </a:bodyPr>
          <a:lstStyle>
            <a:lvl1pPr>
              <a:defRPr sz="1920" baseline="0">
                <a:solidFill>
                  <a:schemeClr val="tx2"/>
                </a:solidFill>
              </a:defRPr>
            </a:lvl1pPr>
          </a:lstStyle>
          <a:p>
            <a:r>
              <a:rPr lang="en-US" sz="192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You might put</a:t>
            </a:r>
            <a:r>
              <a:rPr lang="en-US" sz="1920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 an introduction to a bulleted list here, with a list to follow. </a:t>
            </a:r>
            <a:r>
              <a:rPr lang="en-CA" sz="1920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O</a:t>
            </a:r>
            <a:r>
              <a:rPr lang="en-US" sz="1920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r you might simply delete some of these items and use this entire page for other free-form content.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6900690"/>
            <a:ext cx="13004801" cy="414510"/>
          </a:xfrm>
          <a:prstGeom prst="rect">
            <a:avLst/>
          </a:prstGeom>
        </p:spPr>
      </p:pic>
      <p:sp>
        <p:nvSpPr>
          <p:cNvPr id="2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2327745" y="6967940"/>
            <a:ext cx="514495" cy="389467"/>
          </a:xfrm>
          <a:prstGeom prst="rect">
            <a:avLst/>
          </a:prstGeom>
        </p:spPr>
        <p:txBody>
          <a:bodyPr/>
          <a:lstStyle>
            <a:lvl1pPr>
              <a:defRPr sz="128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algn="r"/>
            <a:fld id="{7E24346F-718D-BC48-AE0E-A004798A23A9}" type="slidenum">
              <a:rPr lang="en-US" smtClean="0"/>
              <a:pPr algn="r"/>
              <a:t>‹#›</a:t>
            </a:fld>
            <a:endParaRPr lang="en-US"/>
          </a:p>
        </p:txBody>
      </p:sp>
      <p:sp>
        <p:nvSpPr>
          <p:cNvPr id="2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938627" y="6967940"/>
            <a:ext cx="4389120" cy="389467"/>
          </a:xfrm>
          <a:prstGeom prst="rect">
            <a:avLst/>
          </a:prstGeom>
        </p:spPr>
        <p:txBody>
          <a:bodyPr/>
          <a:lstStyle>
            <a:lvl1pPr algn="r">
              <a:defRPr sz="128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707285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Page -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6416" y="6043213"/>
            <a:ext cx="455110" cy="620004"/>
          </a:xfrm>
          <a:prstGeom prst="rect">
            <a:avLst/>
          </a:prstGeom>
        </p:spPr>
      </p:pic>
      <p:sp>
        <p:nvSpPr>
          <p:cNvPr id="23" name="Title 21"/>
          <p:cNvSpPr>
            <a:spLocks noGrp="1"/>
          </p:cNvSpPr>
          <p:nvPr>
            <p:ph type="title" hasCustomPrompt="1"/>
          </p:nvPr>
        </p:nvSpPr>
        <p:spPr>
          <a:xfrm>
            <a:off x="561418" y="457520"/>
            <a:ext cx="11705995" cy="443924"/>
          </a:xfrm>
          <a:prstGeom prst="rect">
            <a:avLst/>
          </a:prstGeom>
        </p:spPr>
        <p:txBody>
          <a:bodyPr/>
          <a:lstStyle>
            <a:lvl1pPr>
              <a:defRPr sz="3200" cap="all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PAGE </a:t>
            </a:r>
            <a:r>
              <a:rPr lang="mr-IN"/>
              <a:t>–</a:t>
            </a:r>
            <a:r>
              <a:rPr lang="en-US"/>
              <a:t> 2 columns</a:t>
            </a:r>
          </a:p>
        </p:txBody>
      </p:sp>
      <p:sp>
        <p:nvSpPr>
          <p:cNvPr id="24" name="Text Placeholder 29"/>
          <p:cNvSpPr>
            <a:spLocks noGrp="1"/>
          </p:cNvSpPr>
          <p:nvPr>
            <p:ph type="body" sz="quarter" idx="13" hasCustomPrompt="1"/>
          </p:nvPr>
        </p:nvSpPr>
        <p:spPr>
          <a:xfrm>
            <a:off x="562192" y="971116"/>
            <a:ext cx="11694224" cy="409547"/>
          </a:xfrm>
        </p:spPr>
        <p:txBody>
          <a:bodyPr>
            <a:normAutofit/>
          </a:bodyPr>
          <a:lstStyle>
            <a:lvl1pPr marL="0" indent="0">
              <a:buNone/>
              <a:defRPr sz="2347" cap="all" baseline="0">
                <a:solidFill>
                  <a:schemeClr val="bg2">
                    <a:lumMod val="75000"/>
                  </a:schemeClr>
                </a:solidFill>
              </a:defRPr>
            </a:lvl1pPr>
            <a:lvl2pPr marL="487661" indent="0" algn="l">
              <a:buNone/>
              <a:defRPr cap="all" baseline="0"/>
            </a:lvl2pPr>
            <a:lvl3pPr marL="975321" indent="0">
              <a:buNone/>
              <a:defRPr/>
            </a:lvl3pPr>
            <a:lvl4pPr marL="1462982" indent="0">
              <a:buNone/>
              <a:defRPr/>
            </a:lvl4pPr>
            <a:lvl5pPr marL="1950641" indent="0">
              <a:buNone/>
              <a:defRPr/>
            </a:lvl5pPr>
          </a:lstStyle>
          <a:p>
            <a:pPr lvl="0"/>
            <a:r>
              <a:rPr lang="en-US"/>
              <a:t>SUB-TITLE GOES HE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561424" y="1540816"/>
            <a:ext cx="6037503" cy="479573"/>
          </a:xfrm>
        </p:spPr>
        <p:txBody>
          <a:bodyPr>
            <a:normAutofit/>
          </a:bodyPr>
          <a:lstStyle>
            <a:lvl1pPr marL="0" marR="0" indent="0" algn="l" defTabSz="9753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347" baseline="0">
                <a:solidFill>
                  <a:schemeClr val="tx2"/>
                </a:solidFill>
              </a:defRPr>
            </a:lvl1pPr>
          </a:lstStyle>
          <a:p>
            <a: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347">
                <a:solidFill>
                  <a:schemeClr val="tx1"/>
                </a:solidFill>
                <a:latin typeface="+mn-lt"/>
                <a:cs typeface="Arial"/>
              </a:rPr>
              <a:t>Content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6840739" y="2187789"/>
            <a:ext cx="5870787" cy="4531361"/>
          </a:xfrm>
        </p:spPr>
        <p:txBody>
          <a:bodyPr>
            <a:normAutofit/>
          </a:bodyPr>
          <a:lstStyle>
            <a:lvl1pPr marL="0" indent="0">
              <a:buFont typeface="Arial" charset="0"/>
              <a:buNone/>
              <a:defRPr sz="1920" baseline="0">
                <a:solidFill>
                  <a:schemeClr val="tx2"/>
                </a:solidFill>
              </a:defRPr>
            </a:lvl1pPr>
          </a:lstStyle>
          <a:p>
            <a:r>
              <a:rPr lang="en-CA" sz="192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Tip: The second box is here to use if you need it. Using a 2 column format helps break up line length so your content is easier to read. Or not!—it</a:t>
            </a:r>
            <a:r>
              <a:rPr lang="en-US" sz="1920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’s entirely up to you.</a:t>
            </a:r>
            <a:endParaRPr lang="en-CA" sz="1920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6" hasCustomPrompt="1"/>
          </p:nvPr>
        </p:nvSpPr>
        <p:spPr>
          <a:xfrm>
            <a:off x="562192" y="2187789"/>
            <a:ext cx="6036735" cy="4531361"/>
          </a:xfrm>
        </p:spPr>
        <p:txBody>
          <a:bodyPr>
            <a:normAutofit/>
          </a:bodyPr>
          <a:lstStyle>
            <a:lvl1pPr>
              <a:defRPr sz="1920" baseline="0">
                <a:solidFill>
                  <a:schemeClr val="tx2"/>
                </a:solidFill>
              </a:defRPr>
            </a:lvl1pPr>
          </a:lstStyle>
          <a:p>
            <a:r>
              <a:rPr lang="en-US" sz="192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You might put</a:t>
            </a:r>
            <a:r>
              <a:rPr lang="en-US" sz="1920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 an introduction to a bulleted list here, with a list to follow. </a:t>
            </a:r>
            <a:r>
              <a:rPr lang="en-CA" sz="1920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O</a:t>
            </a:r>
            <a:r>
              <a:rPr lang="en-US" sz="1920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r you might simply delete some of these items and use this entire page for other free-form content.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6900690"/>
            <a:ext cx="13004801" cy="414510"/>
          </a:xfrm>
          <a:prstGeom prst="rect">
            <a:avLst/>
          </a:prstGeom>
        </p:spPr>
      </p:pic>
      <p:sp>
        <p:nvSpPr>
          <p:cNvPr id="2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2327745" y="6967940"/>
            <a:ext cx="514495" cy="389467"/>
          </a:xfrm>
          <a:prstGeom prst="rect">
            <a:avLst/>
          </a:prstGeom>
        </p:spPr>
        <p:txBody>
          <a:bodyPr/>
          <a:lstStyle>
            <a:lvl1pPr>
              <a:defRPr sz="128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algn="r"/>
            <a:fld id="{7E24346F-718D-BC48-AE0E-A004798A23A9}" type="slidenum">
              <a:rPr lang="en-US" smtClean="0"/>
              <a:pPr algn="r"/>
              <a:t>‹#›</a:t>
            </a:fld>
            <a:endParaRPr lang="en-US"/>
          </a:p>
        </p:txBody>
      </p:sp>
      <p:sp>
        <p:nvSpPr>
          <p:cNvPr id="2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938627" y="6967940"/>
            <a:ext cx="4389120" cy="389467"/>
          </a:xfrm>
          <a:prstGeom prst="rect">
            <a:avLst/>
          </a:prstGeom>
        </p:spPr>
        <p:txBody>
          <a:bodyPr/>
          <a:lstStyle>
            <a:lvl1pPr algn="r">
              <a:defRPr sz="128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7672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15407" y="6586005"/>
            <a:ext cx="3381247" cy="442406"/>
          </a:xfrm>
          <a:prstGeom prst="rect">
            <a:avLst/>
          </a:prstGeom>
        </p:spPr>
      </p:pic>
      <p:sp>
        <p:nvSpPr>
          <p:cNvPr id="15" name="Slide Number Placeholder 10">
            <a:extLst>
              <a:ext uri="{FF2B5EF4-FFF2-40B4-BE49-F238E27FC236}">
                <a16:creationId xmlns:a16="http://schemas.microsoft.com/office/drawing/2014/main" id="{A2ED9C39-E899-4AC0-8CCE-662F985473A4}"/>
              </a:ext>
            </a:extLst>
          </p:cNvPr>
          <p:cNvSpPr txBox="1">
            <a:spLocks/>
          </p:cNvSpPr>
          <p:nvPr userDrawn="1"/>
        </p:nvSpPr>
        <p:spPr>
          <a:xfrm>
            <a:off x="261843" y="6727693"/>
            <a:ext cx="453426" cy="389467"/>
          </a:xfrm>
          <a:prstGeom prst="rect">
            <a:avLst/>
          </a:prstGeom>
        </p:spPr>
        <p:txBody>
          <a:bodyPr vert="horz" lIns="97536" tIns="48768" rIns="97536" bIns="48768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876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DA41B0-E16D-48B4-8B5D-6BC89192C442}" type="slidenum">
              <a:rPr kumimoji="0" lang="en-US" sz="1280" b="0" i="0" u="none" strike="noStrike" kern="1200" cap="none" spc="0" normalizeH="0" baseline="0" noProof="0" smtClean="0">
                <a:ln>
                  <a:noFill/>
                </a:ln>
                <a:solidFill>
                  <a:srgbClr val="33006F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76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80" b="0" i="0" u="none" strike="noStrike" kern="1200" cap="none" spc="0" normalizeH="0" baseline="0" noProof="0">
              <a:ln>
                <a:noFill/>
              </a:ln>
              <a:solidFill>
                <a:srgbClr val="33006F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715265" y="1130500"/>
            <a:ext cx="11481381" cy="571942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(ENCODE NORMAL BLACK, 30 PT.)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715265" y="1996072"/>
            <a:ext cx="11481381" cy="4323789"/>
          </a:xfrm>
          <a:prstGeom prst="rect">
            <a:avLst/>
          </a:prstGeom>
        </p:spPr>
        <p:txBody>
          <a:bodyPr/>
          <a:lstStyle>
            <a:lvl1pPr marL="365727" indent="-365727">
              <a:buFont typeface="Lucida Grande"/>
              <a:buChar char="&gt;"/>
              <a:defRPr sz="2560" b="1" i="0" baseline="0">
                <a:solidFill>
                  <a:schemeClr val="tx1"/>
                </a:solidFill>
                <a:latin typeface="Open Sans"/>
                <a:cs typeface="Open Sans"/>
              </a:defRPr>
            </a:lvl1pPr>
            <a:lvl2pPr>
              <a:defRPr sz="2133" b="1" i="0" baseline="0">
                <a:solidFill>
                  <a:schemeClr val="tx1"/>
                </a:solidFill>
                <a:latin typeface="Open Sans"/>
                <a:cs typeface="Open Sans"/>
              </a:defRPr>
            </a:lvl2pPr>
            <a:lvl3pPr marL="1219090" indent="-243819">
              <a:buSzPct val="100000"/>
              <a:buFont typeface="Lucida Grande"/>
              <a:buChar char="&gt;"/>
              <a:defRPr sz="1920" b="1" i="0" baseline="0">
                <a:solidFill>
                  <a:schemeClr val="tx1"/>
                </a:solidFill>
                <a:latin typeface="Open Sans"/>
                <a:cs typeface="Open Sans"/>
              </a:defRPr>
            </a:lvl3pPr>
            <a:lvl4pPr>
              <a:defRPr sz="1707" b="1" i="0" baseline="0">
                <a:solidFill>
                  <a:schemeClr val="tx1"/>
                </a:solidFill>
                <a:latin typeface="Open Sans"/>
                <a:cs typeface="Open Sans"/>
              </a:defRPr>
            </a:lvl4pPr>
            <a:lvl5pPr marL="2194362" indent="-243819">
              <a:buFont typeface="Lucida Grande"/>
              <a:buChar char="&gt;"/>
              <a:defRPr sz="1493" b="1" i="0" baseline="0">
                <a:solidFill>
                  <a:schemeClr val="tx1"/>
                </a:solidFill>
                <a:latin typeface="Open Sans"/>
                <a:cs typeface="Open Sans"/>
              </a:defRPr>
            </a:lvl5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 Bold, 20)</a:t>
            </a:r>
          </a:p>
          <a:p>
            <a:pPr lvl="2"/>
            <a:r>
              <a:rPr lang="en-US"/>
              <a:t>Third level (Open Sans Bold, 18)</a:t>
            </a:r>
          </a:p>
          <a:p>
            <a:pPr lvl="3"/>
            <a:r>
              <a:rPr lang="en-US"/>
              <a:t>Fourth level (Open Sans Bold, 16)</a:t>
            </a:r>
          </a:p>
          <a:p>
            <a:pPr lvl="4"/>
            <a:r>
              <a:rPr lang="en-US"/>
              <a:t>Fifth level (Open Sans Bold, 14)</a:t>
            </a: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15264" y="1797864"/>
            <a:ext cx="1177367" cy="1027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761035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hite_Graphic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0846" y="1232526"/>
            <a:ext cx="1569822" cy="13704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9838" y="650466"/>
            <a:ext cx="11622699" cy="616030"/>
          </a:xfrm>
          <a:prstGeom prst="rect">
            <a:avLst/>
          </a:prstGeom>
        </p:spPr>
        <p:txBody>
          <a:bodyPr anchor="b"/>
          <a:lstStyle>
            <a:lvl1pPr algn="l">
              <a:defRPr sz="4267" b="1" i="0" cap="all" baseline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sp>
        <p:nvSpPr>
          <p:cNvPr id="8" name="Chart Placeholder 11">
            <a:extLst>
              <a:ext uri="{FF2B5EF4-FFF2-40B4-BE49-F238E27FC236}">
                <a16:creationId xmlns:a16="http://schemas.microsoft.com/office/drawing/2014/main" id="{B353FF43-8C4D-428C-8468-F9C1DA4BB37F}"/>
              </a:ext>
            </a:extLst>
          </p:cNvPr>
          <p:cNvSpPr>
            <a:spLocks noGrp="1"/>
          </p:cNvSpPr>
          <p:nvPr>
            <p:ph type="chart" sz="quarter" idx="12" hasCustomPrompt="1"/>
          </p:nvPr>
        </p:nvSpPr>
        <p:spPr>
          <a:xfrm>
            <a:off x="654756" y="1547123"/>
            <a:ext cx="11640408" cy="506107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3413" b="0" i="1" baseline="0">
                <a:solidFill>
                  <a:schemeClr val="tx1"/>
                </a:solidFill>
                <a:latin typeface="Open Sans Light"/>
                <a:cs typeface="Open Sans Light"/>
              </a:defRPr>
            </a:lvl1pPr>
          </a:lstStyle>
          <a:p>
            <a:r>
              <a:rPr lang="en-US"/>
              <a:t>Graphics can go here – </a:t>
            </a:r>
            <a:br>
              <a:rPr lang="en-US"/>
            </a:br>
            <a:r>
              <a:rPr lang="en-US"/>
              <a:t>replace this box with your image or char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1F7CE91-3E86-4CA5-8287-3D53C50BE66A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0" y="6924609"/>
            <a:ext cx="948267" cy="390595"/>
          </a:xfrm>
          <a:prstGeom prst="rect">
            <a:avLst/>
          </a:prstGeom>
        </p:spPr>
        <p:txBody>
          <a:bodyPr/>
          <a:lstStyle>
            <a:lvl1pPr>
              <a:defRPr sz="1707"/>
            </a:lvl1pPr>
          </a:lstStyle>
          <a:p>
            <a:fld id="{95471BDC-C822-445D-A28A-E864ABD6C12F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5" name="Picture 4" descr="A close up of a logo&#10;&#10;Description automatically generated">
            <a:extLst>
              <a:ext uri="{FF2B5EF4-FFF2-40B4-BE49-F238E27FC236}">
                <a16:creationId xmlns:a16="http://schemas.microsoft.com/office/drawing/2014/main" id="{5983420E-A6C9-454C-BA64-00D314D7C16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35284" y="6749922"/>
            <a:ext cx="2242596" cy="5138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6907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15399" y="6586002"/>
            <a:ext cx="3381247" cy="442406"/>
          </a:xfrm>
          <a:prstGeom prst="rect">
            <a:avLst/>
          </a:prstGeom>
        </p:spPr>
      </p:pic>
      <p:sp>
        <p:nvSpPr>
          <p:cNvPr id="14" name="Slide Number Placeholder 10">
            <a:extLst>
              <a:ext uri="{FF2B5EF4-FFF2-40B4-BE49-F238E27FC236}">
                <a16:creationId xmlns:a16="http://schemas.microsoft.com/office/drawing/2014/main" id="{A2ED9C39-E899-4AC0-8CCE-662F985473A4}"/>
              </a:ext>
            </a:extLst>
          </p:cNvPr>
          <p:cNvSpPr txBox="1">
            <a:spLocks/>
          </p:cNvSpPr>
          <p:nvPr userDrawn="1"/>
        </p:nvSpPr>
        <p:spPr>
          <a:xfrm>
            <a:off x="261838" y="6727693"/>
            <a:ext cx="453426" cy="389467"/>
          </a:xfrm>
          <a:prstGeom prst="rect">
            <a:avLst/>
          </a:prstGeom>
        </p:spPr>
        <p:txBody>
          <a:bodyPr vert="horz" lIns="97536" tIns="48768" rIns="97536" bIns="48768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877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DA41B0-E16D-48B4-8B5D-6BC89192C442}" type="slidenum">
              <a:rPr kumimoji="0" lang="en-US" sz="1280" b="0" i="0" u="none" strike="noStrike" kern="1200" cap="none" spc="0" normalizeH="0" baseline="0" noProof="0" smtClean="0">
                <a:ln>
                  <a:noFill/>
                </a:ln>
                <a:solidFill>
                  <a:srgbClr val="33006F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77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80" b="0" i="0" u="none" strike="noStrike" kern="1200" cap="none" spc="0" normalizeH="0" baseline="0" noProof="0" dirty="0">
              <a:ln>
                <a:noFill/>
              </a:ln>
              <a:solidFill>
                <a:srgbClr val="33006F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15264" y="511065"/>
            <a:ext cx="11481380" cy="571942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(ENCODE NORMAL BLACK, 30 PT.)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15265" y="1083007"/>
            <a:ext cx="1177366" cy="1027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733454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er +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0846" y="1232526"/>
            <a:ext cx="1569822" cy="13704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54755" y="525845"/>
            <a:ext cx="11622699" cy="1413369"/>
          </a:xfrm>
          <a:prstGeom prst="rect">
            <a:avLst/>
          </a:prstGeom>
        </p:spPr>
        <p:txBody>
          <a:bodyPr anchor="b"/>
          <a:lstStyle>
            <a:lvl1pPr algn="l">
              <a:defRPr sz="4267" b="1" i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  <a:br>
              <a:rPr lang="en-US"/>
            </a:br>
            <a:endParaRPr lang="en-US"/>
          </a:p>
        </p:txBody>
      </p:sp>
      <p:sp>
        <p:nvSpPr>
          <p:cNvPr id="10" name="Chart Placeholder 11"/>
          <p:cNvSpPr>
            <a:spLocks noGrp="1"/>
          </p:cNvSpPr>
          <p:nvPr>
            <p:ph type="chart" sz="quarter" idx="12" hasCustomPrompt="1"/>
          </p:nvPr>
        </p:nvSpPr>
        <p:spPr>
          <a:xfrm>
            <a:off x="637048" y="1939213"/>
            <a:ext cx="11640408" cy="47255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3413" b="0" i="1" baseline="0">
                <a:solidFill>
                  <a:schemeClr val="tx1"/>
                </a:solidFill>
                <a:latin typeface="+mn-lt"/>
                <a:cs typeface="Open Sans Light"/>
              </a:defRPr>
            </a:lvl1pPr>
          </a:lstStyle>
          <a:p>
            <a:r>
              <a:rPr lang="en-US"/>
              <a:t>Graphics can go here – </a:t>
            </a:r>
            <a:br>
              <a:rPr lang="en-US"/>
            </a:br>
            <a:r>
              <a:rPr lang="en-US"/>
              <a:t>replace this box with your image or chart</a:t>
            </a:r>
          </a:p>
        </p:txBody>
      </p:sp>
      <p:pic>
        <p:nvPicPr>
          <p:cNvPr id="7" name="Picture 6" descr="A close up of a logo&#10;&#10;Description automatically generated">
            <a:extLst>
              <a:ext uri="{FF2B5EF4-FFF2-40B4-BE49-F238E27FC236}">
                <a16:creationId xmlns:a16="http://schemas.microsoft.com/office/drawing/2014/main" id="{DA858859-3BAA-4B61-A436-5267CD5980A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959850" y="6738119"/>
            <a:ext cx="2335316" cy="303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8289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9F98A7-9ECA-97DA-C8D2-97AADA606F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F138E92-A7C0-C914-BEB0-444CCBDED6D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7E4F862-BBB7-EA59-8815-E8842B3418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988099-32B5-4A36-8DFD-FBE07A9DD641}" type="datetimeFigureOut">
              <a:rPr lang="en-US" smtClean="0"/>
              <a:t>4/8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0EB4288-4359-3F9E-1333-F66CEE7C29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6DE2649-DC30-3944-7EBC-891D3E0743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50FE64-594E-4788-AA1F-9CB9F2376DA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49768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White_Graphic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D35B8508-C281-42AF-AC76-3B09D0C085B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4042" y="867001"/>
            <a:ext cx="1569822" cy="137048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B7C326E5-7F62-42C5-9B7A-AA562D0025E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9336" y="210436"/>
            <a:ext cx="11658118" cy="706685"/>
          </a:xfrm>
          <a:prstGeom prst="rect">
            <a:avLst/>
          </a:prstGeom>
        </p:spPr>
        <p:txBody>
          <a:bodyPr anchor="b"/>
          <a:lstStyle>
            <a:lvl1pPr algn="l">
              <a:defRPr sz="4267" b="1" i="0" cap="all" baseline="0">
                <a:solidFill>
                  <a:srgbClr val="7030A0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pic>
        <p:nvPicPr>
          <p:cNvPr id="12" name="Picture 11" descr="A screenshot of a cell phone&#10;&#10;Description automatically generated">
            <a:extLst>
              <a:ext uri="{FF2B5EF4-FFF2-40B4-BE49-F238E27FC236}">
                <a16:creationId xmlns:a16="http://schemas.microsoft.com/office/drawing/2014/main" id="{74C8CCF3-BF2E-43C5-B7BC-939E28D5D39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90813" y="6738111"/>
            <a:ext cx="2017759" cy="262366"/>
          </a:xfrm>
          <a:prstGeom prst="rect">
            <a:avLst/>
          </a:prstGeom>
        </p:spPr>
      </p:pic>
      <p:sp>
        <p:nvSpPr>
          <p:cNvPr id="13" name="Chart Placeholder 11">
            <a:extLst>
              <a:ext uri="{FF2B5EF4-FFF2-40B4-BE49-F238E27FC236}">
                <a16:creationId xmlns:a16="http://schemas.microsoft.com/office/drawing/2014/main" id="{EFCD498D-D419-4FB2-BEE1-70FFC1BC9D72}"/>
              </a:ext>
            </a:extLst>
          </p:cNvPr>
          <p:cNvSpPr>
            <a:spLocks noGrp="1"/>
          </p:cNvSpPr>
          <p:nvPr>
            <p:ph type="chart" sz="quarter" idx="12" hasCustomPrompt="1"/>
          </p:nvPr>
        </p:nvSpPr>
        <p:spPr>
          <a:xfrm>
            <a:off x="654756" y="1557442"/>
            <a:ext cx="11640408" cy="506107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3413" b="0" i="1" baseline="0">
                <a:solidFill>
                  <a:schemeClr val="tx2"/>
                </a:solidFill>
                <a:latin typeface="+mn-lt"/>
                <a:cs typeface="Open Sans Light"/>
              </a:defRPr>
            </a:lvl1pPr>
          </a:lstStyle>
          <a:p>
            <a:r>
              <a:rPr lang="en-US"/>
              <a:t>Graphics can go here – </a:t>
            </a:r>
            <a:br>
              <a:rPr lang="en-US"/>
            </a:br>
            <a:r>
              <a:rPr lang="en-US"/>
              <a:t>replace this box with your image or chart</a:t>
            </a:r>
          </a:p>
        </p:txBody>
      </p:sp>
      <p:sp>
        <p:nvSpPr>
          <p:cNvPr id="14" name="Slide Number Placeholder 2">
            <a:extLst>
              <a:ext uri="{FF2B5EF4-FFF2-40B4-BE49-F238E27FC236}">
                <a16:creationId xmlns:a16="http://schemas.microsoft.com/office/drawing/2014/main" id="{914D78C1-0F41-4F95-9D1C-C374193F1AE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" y="6924607"/>
            <a:ext cx="821831" cy="390595"/>
          </a:xfrm>
          <a:prstGeom prst="rect">
            <a:avLst/>
          </a:prstGeom>
        </p:spPr>
        <p:txBody>
          <a:bodyPr/>
          <a:lstStyle>
            <a:lvl1pPr>
              <a:defRPr sz="1707">
                <a:solidFill>
                  <a:schemeClr val="tx2"/>
                </a:solidFill>
              </a:defRPr>
            </a:lvl1pPr>
          </a:lstStyle>
          <a:p>
            <a:fld id="{5FC2A098-C205-46C9-9A6D-EB2B2028999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Picture 6" descr="A close up of a logo&#10;&#10;Description automatically generated">
            <a:extLst>
              <a:ext uri="{FF2B5EF4-FFF2-40B4-BE49-F238E27FC236}">
                <a16:creationId xmlns:a16="http://schemas.microsoft.com/office/drawing/2014/main" id="{7B319BCE-D145-41FD-8BCA-7837AFF50AF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959850" y="6738119"/>
            <a:ext cx="2335316" cy="303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802186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7C4B8C-6D02-BB28-7CC5-2C47B035DFE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625600" y="1197187"/>
            <a:ext cx="9753600" cy="2546773"/>
          </a:xfrm>
        </p:spPr>
        <p:txBody>
          <a:bodyPr anchor="b"/>
          <a:lstStyle>
            <a:lvl1pPr algn="ctr">
              <a:defRPr sz="6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BAFE5FA-C560-CD6C-BF85-12FEDD159E5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625600" y="3842173"/>
            <a:ext cx="9753600" cy="1766147"/>
          </a:xfrm>
        </p:spPr>
        <p:txBody>
          <a:bodyPr/>
          <a:lstStyle>
            <a:lvl1pPr marL="0" indent="0" algn="ctr">
              <a:buNone/>
              <a:defRPr sz="2560"/>
            </a:lvl1pPr>
            <a:lvl2pPr marL="487661" indent="0" algn="ctr">
              <a:buNone/>
              <a:defRPr sz="2133"/>
            </a:lvl2pPr>
            <a:lvl3pPr marL="975321" indent="0" algn="ctr">
              <a:buNone/>
              <a:defRPr sz="1920"/>
            </a:lvl3pPr>
            <a:lvl4pPr marL="1462982" indent="0" algn="ctr">
              <a:buNone/>
              <a:defRPr sz="1707"/>
            </a:lvl4pPr>
            <a:lvl5pPr marL="1950641" indent="0" algn="ctr">
              <a:buNone/>
              <a:defRPr sz="1707"/>
            </a:lvl5pPr>
            <a:lvl6pPr marL="2438301" indent="0" algn="ctr">
              <a:buNone/>
              <a:defRPr sz="1707"/>
            </a:lvl6pPr>
            <a:lvl7pPr marL="2925960" indent="0" algn="ctr">
              <a:buNone/>
              <a:defRPr sz="1707"/>
            </a:lvl7pPr>
            <a:lvl8pPr marL="3413621" indent="0" algn="ctr">
              <a:buNone/>
              <a:defRPr sz="1707"/>
            </a:lvl8pPr>
            <a:lvl9pPr marL="3901282" indent="0" algn="ctr">
              <a:buNone/>
              <a:defRPr sz="1707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DEAF085-FF6C-5950-A4B4-DE3FFD895B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988099-32B5-4A36-8DFD-FBE07A9DD641}" type="datetimeFigureOut">
              <a:rPr lang="en-US" smtClean="0"/>
              <a:t>4/8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3A18566-2962-E0DD-756A-A00BA6FF4F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8ECBD6B-AB27-B609-9948-9E56AF6CCF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50FE64-594E-4788-AA1F-9CB9F2376DA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663729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hite_Title Slide 1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black and white photo of a building&#10;&#10;Description automatically generated">
            <a:extLst>
              <a:ext uri="{FF2B5EF4-FFF2-40B4-BE49-F238E27FC236}">
                <a16:creationId xmlns:a16="http://schemas.microsoft.com/office/drawing/2014/main" id="{91403BB8-FE22-414F-A7DC-5173D93AB0F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5743"/>
          <a:stretch/>
        </p:blipFill>
        <p:spPr>
          <a:xfrm>
            <a:off x="0" y="0"/>
            <a:ext cx="13022990" cy="73152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97842081-A822-4595-A3C9-CE9A74968A55}"/>
              </a:ext>
            </a:extLst>
          </p:cNvPr>
          <p:cNvSpPr/>
          <p:nvPr userDrawn="1"/>
        </p:nvSpPr>
        <p:spPr>
          <a:xfrm>
            <a:off x="2" y="0"/>
            <a:ext cx="13041180" cy="7315200"/>
          </a:xfrm>
          <a:prstGeom prst="rect">
            <a:avLst/>
          </a:prstGeom>
          <a:solidFill>
            <a:schemeClr val="bg2">
              <a:alpha val="76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56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B6A24A3-2469-4535-BF17-D9151C7F0BA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07937" y="4873174"/>
            <a:ext cx="2275840" cy="198684"/>
          </a:xfrm>
          <a:prstGeom prst="rect">
            <a:avLst/>
          </a:prstGeom>
        </p:spPr>
      </p:pic>
      <p:pic>
        <p:nvPicPr>
          <p:cNvPr id="12" name="Picture 11" descr="A screenshot of a cell phone&#10;&#10;Description automatically generated">
            <a:extLst>
              <a:ext uri="{FF2B5EF4-FFF2-40B4-BE49-F238E27FC236}">
                <a16:creationId xmlns:a16="http://schemas.microsoft.com/office/drawing/2014/main" id="{5D54573B-D5B6-4023-A486-E86DF7872F5A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389523" y="6249611"/>
            <a:ext cx="2993847" cy="727229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A7C40198-6921-470E-8BB0-E8DA1FC2A5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4755" y="917325"/>
            <a:ext cx="9989035" cy="3757164"/>
          </a:xfrm>
          <a:prstGeom prst="rect">
            <a:avLst/>
          </a:prstGeom>
        </p:spPr>
        <p:txBody>
          <a:bodyPr anchor="b"/>
          <a:lstStyle>
            <a:lvl1pPr algn="l">
              <a:defRPr sz="7111" b="1" i="0" cap="all" baseline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UWFT PPT TEMPLATE</a:t>
            </a:r>
          </a:p>
        </p:txBody>
      </p:sp>
    </p:spTree>
    <p:extLst>
      <p:ext uri="{BB962C8B-B14F-4D97-AF65-F5344CB8AC3E}">
        <p14:creationId xmlns:p14="http://schemas.microsoft.com/office/powerpoint/2010/main" val="3710017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White_Content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black and white photo of a building&#10;&#10;Description automatically generated">
            <a:extLst>
              <a:ext uri="{FF2B5EF4-FFF2-40B4-BE49-F238E27FC236}">
                <a16:creationId xmlns:a16="http://schemas.microsoft.com/office/drawing/2014/main" id="{8401AF7D-5279-41C7-BF89-45A1E46B01C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5743"/>
          <a:stretch/>
        </p:blipFill>
        <p:spPr>
          <a:xfrm>
            <a:off x="0" y="0"/>
            <a:ext cx="13022990" cy="7315200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9A368F04-4CDB-40B3-9081-CC1794EAA545}"/>
              </a:ext>
            </a:extLst>
          </p:cNvPr>
          <p:cNvSpPr/>
          <p:nvPr userDrawn="1"/>
        </p:nvSpPr>
        <p:spPr>
          <a:xfrm>
            <a:off x="2" y="0"/>
            <a:ext cx="13041180" cy="7315200"/>
          </a:xfrm>
          <a:prstGeom prst="rect">
            <a:avLst/>
          </a:prstGeom>
          <a:solidFill>
            <a:schemeClr val="bg2">
              <a:alpha val="76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56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F5D961D-A110-46E3-9A8E-CD8C6D050B4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80846" y="1235055"/>
            <a:ext cx="1569822" cy="137048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D31FDD31-55CC-498E-B380-86658AA9A7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9336" y="596894"/>
            <a:ext cx="11658118" cy="706685"/>
          </a:xfrm>
          <a:prstGeom prst="rect">
            <a:avLst/>
          </a:prstGeom>
        </p:spPr>
        <p:txBody>
          <a:bodyPr anchor="b"/>
          <a:lstStyle>
            <a:lvl1pPr algn="l">
              <a:defRPr sz="4267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pic>
        <p:nvPicPr>
          <p:cNvPr id="13" name="Picture 12" descr="A screenshot of a cell phone&#10;&#10;Description automatically generated">
            <a:extLst>
              <a:ext uri="{FF2B5EF4-FFF2-40B4-BE49-F238E27FC236}">
                <a16:creationId xmlns:a16="http://schemas.microsoft.com/office/drawing/2014/main" id="{C79536C7-D87B-41F2-87B1-CA35D6252720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990813" y="6738111"/>
            <a:ext cx="2017759" cy="262366"/>
          </a:xfrm>
          <a:prstGeom prst="rect">
            <a:avLst/>
          </a:prstGeom>
        </p:spPr>
      </p:pic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3D6390A-DAED-4A47-B7D5-0C5D43422C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7048" y="1773194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3413" b="0" i="0" cap="all" baseline="0">
                <a:solidFill>
                  <a:schemeClr val="tx2"/>
                </a:solidFill>
                <a:latin typeface="Uni Sans" charset="0"/>
                <a:ea typeface="Uni Sans" charset="0"/>
                <a:cs typeface="Uni Sans" charset="0"/>
              </a:defRPr>
            </a:lvl1pPr>
            <a:lvl2pPr marL="650214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1300428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950641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2600854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id="{0F563B1E-89A1-4FA3-9240-3D03D6F93CE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" y="6924607"/>
            <a:ext cx="821831" cy="390595"/>
          </a:xfrm>
          <a:prstGeom prst="rect">
            <a:avLst/>
          </a:prstGeom>
        </p:spPr>
        <p:txBody>
          <a:bodyPr/>
          <a:lstStyle>
            <a:lvl1pPr>
              <a:defRPr sz="1707">
                <a:solidFill>
                  <a:schemeClr val="tx2"/>
                </a:solidFill>
              </a:defRPr>
            </a:lvl1pPr>
          </a:lstStyle>
          <a:p>
            <a:fld id="{5FC2A098-C205-46C9-9A6D-EB2B2028999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B8E40DE9-6EB0-4F70-9A67-CE64F165993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336" y="2597311"/>
            <a:ext cx="11658118" cy="3202505"/>
          </a:xfrm>
          <a:prstGeom prst="rect">
            <a:avLst/>
          </a:prstGeom>
        </p:spPr>
        <p:txBody>
          <a:bodyPr/>
          <a:lstStyle>
            <a:lvl1pPr marL="487661" indent="-487661">
              <a:buFont typeface="Lucida Grande"/>
              <a:buChar char="&gt;"/>
              <a:defRPr sz="3413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844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625535" indent="-325106">
              <a:buSzPct val="100000"/>
              <a:buFont typeface="Lucida Grande"/>
              <a:buChar char="&gt;"/>
              <a:defRPr sz="256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2276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925960" indent="-325106">
              <a:buFont typeface="Lucida Grande"/>
              <a:buChar char="&gt;"/>
              <a:defRPr sz="1991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>
              <a:defRPr baseline="0">
                <a:solidFill>
                  <a:schemeClr val="tx2"/>
                </a:solidFill>
              </a:defRPr>
            </a:lvl6pPr>
            <a:lvl7pPr>
              <a:defRPr baseline="0">
                <a:solidFill>
                  <a:schemeClr val="tx2"/>
                </a:solidFill>
              </a:defRPr>
            </a:lvl7pPr>
            <a:lvl9pPr>
              <a:defRPr/>
            </a:lvl9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, 20)</a:t>
            </a:r>
          </a:p>
          <a:p>
            <a:pPr lvl="2"/>
            <a:r>
              <a:rPr lang="en-US"/>
              <a:t>Third level (Open Sans, 18)</a:t>
            </a:r>
          </a:p>
          <a:p>
            <a:pPr lvl="3"/>
            <a:r>
              <a:rPr lang="en-US"/>
              <a:t>Fourth level (Open Sans, 16)</a:t>
            </a:r>
          </a:p>
          <a:p>
            <a:pPr lvl="4"/>
            <a:r>
              <a:rPr lang="en-US"/>
              <a:t>Fifth level (Open Sans, 14)</a:t>
            </a:r>
          </a:p>
        </p:txBody>
      </p:sp>
      <p:pic>
        <p:nvPicPr>
          <p:cNvPr id="8" name="Picture 7" descr="A close up of a logo&#10;&#10;Description automatically generated">
            <a:extLst>
              <a:ext uri="{FF2B5EF4-FFF2-40B4-BE49-F238E27FC236}">
                <a16:creationId xmlns:a16="http://schemas.microsoft.com/office/drawing/2014/main" id="{8BBE3CB1-85B5-4757-B841-BEA01AD58912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959850" y="6738119"/>
            <a:ext cx="2335316" cy="303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93236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White_Content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FF5D961D-A110-46E3-9A8E-CD8C6D050B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0846" y="1235055"/>
            <a:ext cx="1569822" cy="137048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D31FDD31-55CC-498E-B380-86658AA9A7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9336" y="596894"/>
            <a:ext cx="11658118" cy="706685"/>
          </a:xfrm>
          <a:prstGeom prst="rect">
            <a:avLst/>
          </a:prstGeom>
        </p:spPr>
        <p:txBody>
          <a:bodyPr anchor="b"/>
          <a:lstStyle>
            <a:lvl1pPr algn="l">
              <a:defRPr sz="4267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pic>
        <p:nvPicPr>
          <p:cNvPr id="13" name="Picture 12" descr="A screenshot of a cell phone&#10;&#10;Description automatically generated">
            <a:extLst>
              <a:ext uri="{FF2B5EF4-FFF2-40B4-BE49-F238E27FC236}">
                <a16:creationId xmlns:a16="http://schemas.microsoft.com/office/drawing/2014/main" id="{C79536C7-D87B-41F2-87B1-CA35D625272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990813" y="6738111"/>
            <a:ext cx="2017759" cy="262366"/>
          </a:xfrm>
          <a:prstGeom prst="rect">
            <a:avLst/>
          </a:prstGeom>
        </p:spPr>
      </p:pic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3D6390A-DAED-4A47-B7D5-0C5D43422C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7048" y="1773194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3413" b="0" i="0" cap="all" baseline="0">
                <a:solidFill>
                  <a:schemeClr val="tx2"/>
                </a:solidFill>
                <a:latin typeface="Uni Sans" charset="0"/>
                <a:ea typeface="Uni Sans" charset="0"/>
                <a:cs typeface="Uni Sans" charset="0"/>
              </a:defRPr>
            </a:lvl1pPr>
            <a:lvl2pPr marL="650214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1300428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950641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2600854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id="{0F563B1E-89A1-4FA3-9240-3D03D6F93CE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" y="6924607"/>
            <a:ext cx="821831" cy="390595"/>
          </a:xfrm>
          <a:prstGeom prst="rect">
            <a:avLst/>
          </a:prstGeom>
        </p:spPr>
        <p:txBody>
          <a:bodyPr/>
          <a:lstStyle>
            <a:lvl1pPr>
              <a:defRPr sz="1707">
                <a:solidFill>
                  <a:schemeClr val="tx2"/>
                </a:solidFill>
              </a:defRPr>
            </a:lvl1pPr>
          </a:lstStyle>
          <a:p>
            <a:fld id="{5FC2A098-C205-46C9-9A6D-EB2B2028999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B8E40DE9-6EB0-4F70-9A67-CE64F165993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336" y="2597311"/>
            <a:ext cx="11658118" cy="3202505"/>
          </a:xfrm>
          <a:prstGeom prst="rect">
            <a:avLst/>
          </a:prstGeom>
        </p:spPr>
        <p:txBody>
          <a:bodyPr/>
          <a:lstStyle>
            <a:lvl1pPr marL="487661" indent="-487661">
              <a:buFont typeface="Lucida Grande"/>
              <a:buChar char="&gt;"/>
              <a:defRPr sz="3413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844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625535" indent="-325106">
              <a:buSzPct val="100000"/>
              <a:buFont typeface="Lucida Grande"/>
              <a:buChar char="&gt;"/>
              <a:defRPr sz="256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2276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925960" indent="-325106">
              <a:buFont typeface="Lucida Grande"/>
              <a:buChar char="&gt;"/>
              <a:defRPr sz="1991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>
              <a:defRPr baseline="0">
                <a:solidFill>
                  <a:schemeClr val="tx2"/>
                </a:solidFill>
              </a:defRPr>
            </a:lvl6pPr>
            <a:lvl7pPr>
              <a:defRPr baseline="0">
                <a:solidFill>
                  <a:schemeClr val="tx2"/>
                </a:solidFill>
              </a:defRPr>
            </a:lvl7pPr>
            <a:lvl9pPr>
              <a:defRPr/>
            </a:lvl9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, 20)</a:t>
            </a:r>
          </a:p>
          <a:p>
            <a:pPr lvl="2"/>
            <a:r>
              <a:rPr lang="en-US"/>
              <a:t>Third level (Open Sans, 18)</a:t>
            </a:r>
          </a:p>
          <a:p>
            <a:pPr lvl="3"/>
            <a:r>
              <a:rPr lang="en-US"/>
              <a:t>Fourth level (Open Sans, 16)</a:t>
            </a:r>
          </a:p>
          <a:p>
            <a:pPr lvl="4"/>
            <a:r>
              <a:rPr lang="en-US"/>
              <a:t>Fifth level (Open Sans, 14)</a:t>
            </a:r>
          </a:p>
        </p:txBody>
      </p:sp>
      <p:pic>
        <p:nvPicPr>
          <p:cNvPr id="8" name="Picture 7" descr="A close up of a logo&#10;&#10;Description automatically generated">
            <a:extLst>
              <a:ext uri="{FF2B5EF4-FFF2-40B4-BE49-F238E27FC236}">
                <a16:creationId xmlns:a16="http://schemas.microsoft.com/office/drawing/2014/main" id="{8BBE3CB1-85B5-4757-B841-BEA01AD58912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959850" y="6738119"/>
            <a:ext cx="2335316" cy="303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33534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White_Graphic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D35B8508-C281-42AF-AC76-3B09D0C085B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0846" y="1235055"/>
            <a:ext cx="1569822" cy="137048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B7C326E5-7F62-42C5-9B7A-AA562D0025E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9336" y="596894"/>
            <a:ext cx="11658118" cy="706685"/>
          </a:xfrm>
          <a:prstGeom prst="rect">
            <a:avLst/>
          </a:prstGeom>
        </p:spPr>
        <p:txBody>
          <a:bodyPr anchor="b"/>
          <a:lstStyle>
            <a:lvl1pPr algn="l">
              <a:defRPr sz="4267" b="1" i="0" cap="all" baseline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pic>
        <p:nvPicPr>
          <p:cNvPr id="12" name="Picture 11" descr="A screenshot of a cell phone&#10;&#10;Description automatically generated">
            <a:extLst>
              <a:ext uri="{FF2B5EF4-FFF2-40B4-BE49-F238E27FC236}">
                <a16:creationId xmlns:a16="http://schemas.microsoft.com/office/drawing/2014/main" id="{74C8CCF3-BF2E-43C5-B7BC-939E28D5D39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990813" y="6738111"/>
            <a:ext cx="2017759" cy="262366"/>
          </a:xfrm>
          <a:prstGeom prst="rect">
            <a:avLst/>
          </a:prstGeom>
        </p:spPr>
      </p:pic>
      <p:sp>
        <p:nvSpPr>
          <p:cNvPr id="13" name="Chart Placeholder 11">
            <a:extLst>
              <a:ext uri="{FF2B5EF4-FFF2-40B4-BE49-F238E27FC236}">
                <a16:creationId xmlns:a16="http://schemas.microsoft.com/office/drawing/2014/main" id="{EFCD498D-D419-4FB2-BEE1-70FFC1BC9D72}"/>
              </a:ext>
            </a:extLst>
          </p:cNvPr>
          <p:cNvSpPr>
            <a:spLocks noGrp="1"/>
          </p:cNvSpPr>
          <p:nvPr>
            <p:ph type="chart" sz="quarter" idx="12" hasCustomPrompt="1"/>
          </p:nvPr>
        </p:nvSpPr>
        <p:spPr>
          <a:xfrm>
            <a:off x="654756" y="1557442"/>
            <a:ext cx="11640408" cy="506107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3413" b="0" i="1" baseline="0">
                <a:solidFill>
                  <a:schemeClr val="tx2"/>
                </a:solidFill>
                <a:latin typeface="Open Sans Light"/>
                <a:cs typeface="Open Sans Light"/>
              </a:defRPr>
            </a:lvl1pPr>
          </a:lstStyle>
          <a:p>
            <a:r>
              <a:rPr lang="en-US"/>
              <a:t>Graphics can go here – </a:t>
            </a:r>
            <a:br>
              <a:rPr lang="en-US"/>
            </a:br>
            <a:r>
              <a:rPr lang="en-US"/>
              <a:t>replace this box with your image or chart</a:t>
            </a:r>
          </a:p>
        </p:txBody>
      </p:sp>
      <p:sp>
        <p:nvSpPr>
          <p:cNvPr id="14" name="Slide Number Placeholder 2">
            <a:extLst>
              <a:ext uri="{FF2B5EF4-FFF2-40B4-BE49-F238E27FC236}">
                <a16:creationId xmlns:a16="http://schemas.microsoft.com/office/drawing/2014/main" id="{914D78C1-0F41-4F95-9D1C-C374193F1AE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" y="6924607"/>
            <a:ext cx="821831" cy="390595"/>
          </a:xfrm>
          <a:prstGeom prst="rect">
            <a:avLst/>
          </a:prstGeom>
        </p:spPr>
        <p:txBody>
          <a:bodyPr/>
          <a:lstStyle>
            <a:lvl1pPr>
              <a:defRPr sz="1707">
                <a:solidFill>
                  <a:schemeClr val="tx2"/>
                </a:solidFill>
              </a:defRPr>
            </a:lvl1pPr>
          </a:lstStyle>
          <a:p>
            <a:fld id="{5FC2A098-C205-46C9-9A6D-EB2B2028999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Picture 6" descr="A close up of a logo&#10;&#10;Description automatically generated">
            <a:extLst>
              <a:ext uri="{FF2B5EF4-FFF2-40B4-BE49-F238E27FC236}">
                <a16:creationId xmlns:a16="http://schemas.microsoft.com/office/drawing/2014/main" id="{7B319BCE-D145-41FD-8BCA-7837AFF50AF9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959850" y="6738119"/>
            <a:ext cx="2335316" cy="303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83123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_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8D8A2689-1CBE-4BFF-B995-6B7EC13B4ED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21832" y="3666005"/>
            <a:ext cx="1569822" cy="137048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051FDAEC-6032-4B1C-BB06-69B39C6E46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342" y="3009782"/>
            <a:ext cx="11658118" cy="706685"/>
          </a:xfrm>
          <a:prstGeom prst="rect">
            <a:avLst/>
          </a:prstGeom>
        </p:spPr>
        <p:txBody>
          <a:bodyPr anchor="b"/>
          <a:lstStyle>
            <a:lvl1pPr algn="l">
              <a:defRPr sz="4267" b="1" i="0" cap="none" baseline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Divider Slide</a:t>
            </a:r>
          </a:p>
        </p:txBody>
      </p:sp>
      <p:pic>
        <p:nvPicPr>
          <p:cNvPr id="9" name="Picture 8" descr="A screenshot of a cell phone&#10;&#10;Description automatically generated">
            <a:extLst>
              <a:ext uri="{FF2B5EF4-FFF2-40B4-BE49-F238E27FC236}">
                <a16:creationId xmlns:a16="http://schemas.microsoft.com/office/drawing/2014/main" id="{4CC1B0FC-921C-4371-A944-F6A14F655C8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990813" y="6738111"/>
            <a:ext cx="2017759" cy="262366"/>
          </a:xfrm>
          <a:prstGeom prst="rect">
            <a:avLst/>
          </a:prstGeom>
        </p:spPr>
      </p:pic>
      <p:pic>
        <p:nvPicPr>
          <p:cNvPr id="6" name="Picture 5" descr="A close up of a logo&#10;&#10;Description automatically generated">
            <a:extLst>
              <a:ext uri="{FF2B5EF4-FFF2-40B4-BE49-F238E27FC236}">
                <a16:creationId xmlns:a16="http://schemas.microsoft.com/office/drawing/2014/main" id="{EDCDF131-7513-40D8-96A4-52EDD98C0A1E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959850" y="6738119"/>
            <a:ext cx="2335316" cy="303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07017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C04B6E0-EED1-489D-A05E-A10EC427A24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E8EAA6-CCD6-4D76-BEB9-BF301FD6F11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2062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Only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10">
            <a:extLst>
              <a:ext uri="{FF2B5EF4-FFF2-40B4-BE49-F238E27FC236}">
                <a16:creationId xmlns:a16="http://schemas.microsoft.com/office/drawing/2014/main" id="{A2ED9C39-E899-4AC0-8CCE-662F985473A4}"/>
              </a:ext>
            </a:extLst>
          </p:cNvPr>
          <p:cNvSpPr txBox="1">
            <a:spLocks/>
          </p:cNvSpPr>
          <p:nvPr userDrawn="1"/>
        </p:nvSpPr>
        <p:spPr>
          <a:xfrm>
            <a:off x="261838" y="6727693"/>
            <a:ext cx="453426" cy="389467"/>
          </a:xfrm>
          <a:prstGeom prst="rect">
            <a:avLst/>
          </a:prstGeom>
        </p:spPr>
        <p:txBody>
          <a:bodyPr vert="horz" lIns="97536" tIns="48768" rIns="97536" bIns="48768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877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DA41B0-E16D-48B4-8B5D-6BC89192C442}" type="slidenum">
              <a:rPr kumimoji="0" lang="en-US" sz="1280" b="0" i="0" u="none" strike="noStrike" kern="1200" cap="none" spc="0" normalizeH="0" baseline="0" noProof="0" smtClean="0">
                <a:ln>
                  <a:noFill/>
                </a:ln>
                <a:solidFill>
                  <a:srgbClr val="33006F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77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80" b="0" i="0" u="none" strike="noStrike" kern="1200" cap="none" spc="0" normalizeH="0" baseline="0" noProof="0" dirty="0">
              <a:ln>
                <a:noFill/>
              </a:ln>
              <a:solidFill>
                <a:srgbClr val="33006F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715264" y="117980"/>
            <a:ext cx="11481380" cy="571942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(ENCODE NORMAL BLACK, 30 PT.)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15266" y="785345"/>
            <a:ext cx="1177366" cy="1027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1921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White_Graphic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D35B8508-C281-42AF-AC76-3B09D0C085B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1832" y="716501"/>
            <a:ext cx="1569822" cy="137048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B7C326E5-7F62-42C5-9B7A-AA562D0025E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4851" y="47215"/>
            <a:ext cx="11658118" cy="706685"/>
          </a:xfrm>
          <a:prstGeom prst="rect">
            <a:avLst/>
          </a:prstGeom>
        </p:spPr>
        <p:txBody>
          <a:bodyPr anchor="b"/>
          <a:lstStyle>
            <a:lvl1pPr algn="l">
              <a:defRPr sz="4267" b="1" i="0" cap="all" baseline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pic>
        <p:nvPicPr>
          <p:cNvPr id="12" name="Picture 11" descr="A screenshot of a cell phone&#10;&#10;Description automatically generated">
            <a:extLst>
              <a:ext uri="{FF2B5EF4-FFF2-40B4-BE49-F238E27FC236}">
                <a16:creationId xmlns:a16="http://schemas.microsoft.com/office/drawing/2014/main" id="{74C8CCF3-BF2E-43C5-B7BC-939E28D5D39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90813" y="6738111"/>
            <a:ext cx="2017759" cy="262366"/>
          </a:xfrm>
          <a:prstGeom prst="rect">
            <a:avLst/>
          </a:prstGeom>
        </p:spPr>
      </p:pic>
      <p:sp>
        <p:nvSpPr>
          <p:cNvPr id="13" name="Chart Placeholder 11">
            <a:extLst>
              <a:ext uri="{FF2B5EF4-FFF2-40B4-BE49-F238E27FC236}">
                <a16:creationId xmlns:a16="http://schemas.microsoft.com/office/drawing/2014/main" id="{EFCD498D-D419-4FB2-BEE1-70FFC1BC9D72}"/>
              </a:ext>
            </a:extLst>
          </p:cNvPr>
          <p:cNvSpPr>
            <a:spLocks noGrp="1"/>
          </p:cNvSpPr>
          <p:nvPr>
            <p:ph type="chart" sz="quarter" idx="12" hasCustomPrompt="1"/>
          </p:nvPr>
        </p:nvSpPr>
        <p:spPr>
          <a:xfrm>
            <a:off x="654756" y="1557442"/>
            <a:ext cx="11640408" cy="506107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3413" b="0" i="1" baseline="0">
                <a:solidFill>
                  <a:schemeClr val="tx2"/>
                </a:solidFill>
                <a:latin typeface="Open Sans Light"/>
                <a:cs typeface="Open Sans Light"/>
              </a:defRPr>
            </a:lvl1pPr>
          </a:lstStyle>
          <a:p>
            <a:r>
              <a:rPr lang="en-US"/>
              <a:t>Graphics can go here – </a:t>
            </a:r>
            <a:br>
              <a:rPr lang="en-US"/>
            </a:br>
            <a:r>
              <a:rPr lang="en-US"/>
              <a:t>replace this box with your image or chart</a:t>
            </a:r>
          </a:p>
        </p:txBody>
      </p:sp>
      <p:sp>
        <p:nvSpPr>
          <p:cNvPr id="14" name="Slide Number Placeholder 2">
            <a:extLst>
              <a:ext uri="{FF2B5EF4-FFF2-40B4-BE49-F238E27FC236}">
                <a16:creationId xmlns:a16="http://schemas.microsoft.com/office/drawing/2014/main" id="{914D78C1-0F41-4F95-9D1C-C374193F1AE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" y="6924607"/>
            <a:ext cx="821831" cy="390595"/>
          </a:xfrm>
          <a:prstGeom prst="rect">
            <a:avLst/>
          </a:prstGeom>
        </p:spPr>
        <p:txBody>
          <a:bodyPr/>
          <a:lstStyle>
            <a:lvl1pPr>
              <a:defRPr sz="1707">
                <a:solidFill>
                  <a:schemeClr val="tx2"/>
                </a:solidFill>
              </a:defRPr>
            </a:lvl1pPr>
          </a:lstStyle>
          <a:p>
            <a:fld id="{5FC2A098-C205-46C9-9A6D-EB2B2028999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Picture 6" descr="A close up of a logo&#10;&#10;Description automatically generated">
            <a:extLst>
              <a:ext uri="{FF2B5EF4-FFF2-40B4-BE49-F238E27FC236}">
                <a16:creationId xmlns:a16="http://schemas.microsoft.com/office/drawing/2014/main" id="{7B319BCE-D145-41FD-8BCA-7837AFF50AF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959850" y="6738119"/>
            <a:ext cx="2335316" cy="303657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D0C1EFB-D411-43C8-A17F-A6FC52D98DE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89120" y="4041987"/>
            <a:ext cx="975360" cy="97536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68514650"/>
      </p:ext>
    </p:extLst>
  </p:cSld>
  <p:clrMapOvr>
    <a:masterClrMapping/>
  </p:clrMapOvr>
  <p:hf hdr="0" ftr="0" dt="0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5AB38126-ED0B-4D6F-8A6C-CA95D422F7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62839" y="6893868"/>
            <a:ext cx="2389426" cy="312636"/>
          </a:xfrm>
          <a:prstGeom prst="rect">
            <a:avLst/>
          </a:prstGeom>
          <a:effectLst/>
        </p:spPr>
      </p:pic>
      <p:sp>
        <p:nvSpPr>
          <p:cNvPr id="9" name="Slide Number Placeholder 1">
            <a:extLst>
              <a:ext uri="{FF2B5EF4-FFF2-40B4-BE49-F238E27FC236}">
                <a16:creationId xmlns:a16="http://schemas.microsoft.com/office/drawing/2014/main" id="{A11A2C48-E297-4639-AD63-04992006CF93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12132070" y="201002"/>
            <a:ext cx="520192" cy="38285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493">
                <a:solidFill>
                  <a:schemeClr val="tx1"/>
                </a:solidFill>
              </a:defRPr>
            </a:lvl1pPr>
          </a:lstStyle>
          <a:p>
            <a:fld id="{D905AD32-5431-4118-BCBF-BBD2C4DF8F2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91485687-CECD-4338-BDFE-CAE67FACFC8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4305" y="120213"/>
            <a:ext cx="7322715" cy="544431"/>
          </a:xfrm>
          <a:prstGeom prst="rect">
            <a:avLst/>
          </a:prstGeom>
        </p:spPr>
        <p:txBody>
          <a:bodyPr lIns="0" anchor="t"/>
          <a:lstStyle>
            <a:lvl1pPr algn="l">
              <a:defRPr sz="2560" b="1" i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(ENCODE NORMAL BLACK, 30 PT.)</a:t>
            </a:r>
          </a:p>
        </p:txBody>
      </p:sp>
      <p:pic>
        <p:nvPicPr>
          <p:cNvPr id="43" name="Picture 42">
            <a:extLst>
              <a:ext uri="{FF2B5EF4-FFF2-40B4-BE49-F238E27FC236}">
                <a16:creationId xmlns:a16="http://schemas.microsoft.com/office/drawing/2014/main" id="{E84D8C41-2CE7-4B18-BA68-EE5F4E7EA54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64305" y="634404"/>
            <a:ext cx="1143351" cy="998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553617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nthly Status Slide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4305" y="120213"/>
            <a:ext cx="7322715" cy="544431"/>
          </a:xfrm>
          <a:prstGeom prst="rect">
            <a:avLst/>
          </a:prstGeom>
        </p:spPr>
        <p:txBody>
          <a:bodyPr lIns="0" anchor="t"/>
          <a:lstStyle>
            <a:lvl1pPr algn="l">
              <a:defRPr sz="2560" b="1" i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(ENCODE NORMAL BLACK, 30 PT.)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AB38126-ED0B-4D6F-8A6C-CA95D422F7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62839" y="6893868"/>
            <a:ext cx="2389426" cy="312636"/>
          </a:xfrm>
          <a:prstGeom prst="rect">
            <a:avLst/>
          </a:prstGeom>
          <a:effectLst/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0C647C3A-CCC0-4F6B-8087-9EDB8067531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64305" y="634404"/>
            <a:ext cx="1143351" cy="998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265903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black and white photo of a building&#10;&#10;Description automatically generated">
            <a:extLst>
              <a:ext uri="{FF2B5EF4-FFF2-40B4-BE49-F238E27FC236}">
                <a16:creationId xmlns:a16="http://schemas.microsoft.com/office/drawing/2014/main" id="{EB2F8426-EDA2-431E-90A5-D5F79C865FB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3022990" cy="73152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24EE3DC5-1EDA-4DA5-AE86-8537D59D523A}"/>
              </a:ext>
            </a:extLst>
          </p:cNvPr>
          <p:cNvSpPr/>
          <p:nvPr userDrawn="1"/>
        </p:nvSpPr>
        <p:spPr>
          <a:xfrm>
            <a:off x="-18190" y="0"/>
            <a:ext cx="13041180" cy="7315200"/>
          </a:xfrm>
          <a:prstGeom prst="rect">
            <a:avLst/>
          </a:prstGeom>
          <a:solidFill>
            <a:schemeClr val="bg2">
              <a:alpha val="76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02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7937" y="4873172"/>
            <a:ext cx="2275840" cy="198684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D6670E9-D6F6-47D6-9BC5-9F07D7E02EC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0" y="6924606"/>
            <a:ext cx="948267" cy="390595"/>
          </a:xfrm>
          <a:prstGeom prst="rect">
            <a:avLst/>
          </a:prstGeom>
        </p:spPr>
        <p:txBody>
          <a:bodyPr/>
          <a:lstStyle>
            <a:lvl1pPr>
              <a:defRPr sz="1707"/>
            </a:lvl1pPr>
          </a:lstStyle>
          <a:p>
            <a:fld id="{95471BDC-C822-445D-A28A-E864ABD6C12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73D107E-ADB1-47E1-ACF9-C0E973B398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4755" y="917323"/>
            <a:ext cx="9989035" cy="3757164"/>
          </a:xfrm>
          <a:prstGeom prst="rect">
            <a:avLst/>
          </a:prstGeom>
        </p:spPr>
        <p:txBody>
          <a:bodyPr anchor="b"/>
          <a:lstStyle>
            <a:lvl1pPr algn="l">
              <a:defRPr sz="7111" b="1" i="0" cap="all" baseline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TITLE HERE</a:t>
            </a:r>
            <a:br>
              <a:rPr lang="en-US"/>
            </a:br>
            <a:r>
              <a:rPr lang="en-US"/>
              <a:t>ENCODE NORMAL</a:t>
            </a:r>
            <a:br>
              <a:rPr lang="en-US"/>
            </a:br>
            <a:r>
              <a:rPr lang="en-US"/>
              <a:t>BLACK, 50 PT. </a:t>
            </a:r>
          </a:p>
        </p:txBody>
      </p:sp>
      <p:pic>
        <p:nvPicPr>
          <p:cNvPr id="11" name="Picture 10" descr="A close up of a logo&#10;&#10;Description automatically generated">
            <a:extLst>
              <a:ext uri="{FF2B5EF4-FFF2-40B4-BE49-F238E27FC236}">
                <a16:creationId xmlns:a16="http://schemas.microsoft.com/office/drawing/2014/main" id="{DBA03146-095A-4C6A-8036-A9226202CC3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83896" y="6599038"/>
            <a:ext cx="2250270" cy="5332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11383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_Conten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black and white photo of a building&#10;&#10;Description automatically generated">
            <a:extLst>
              <a:ext uri="{FF2B5EF4-FFF2-40B4-BE49-F238E27FC236}">
                <a16:creationId xmlns:a16="http://schemas.microsoft.com/office/drawing/2014/main" id="{ACEBBB61-F2FF-4727-9371-BFCB19E5B40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3022990" cy="73152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B0DF0A47-AC9F-461D-B72F-EDFD74858C7E}"/>
              </a:ext>
            </a:extLst>
          </p:cNvPr>
          <p:cNvSpPr/>
          <p:nvPr userDrawn="1"/>
        </p:nvSpPr>
        <p:spPr>
          <a:xfrm>
            <a:off x="0" y="1"/>
            <a:ext cx="13022990" cy="7315200"/>
          </a:xfrm>
          <a:prstGeom prst="rect">
            <a:avLst/>
          </a:prstGeom>
          <a:solidFill>
            <a:schemeClr val="bg2">
              <a:alpha val="76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02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852314DA-FCE4-415E-B153-A8680786374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0845" y="1232526"/>
            <a:ext cx="1569822" cy="137048"/>
          </a:xfrm>
          <a:prstGeom prst="rect">
            <a:avLst/>
          </a:prstGeom>
        </p:spPr>
      </p:pic>
      <p:sp>
        <p:nvSpPr>
          <p:cNvPr id="18" name="Title 1">
            <a:extLst>
              <a:ext uri="{FF2B5EF4-FFF2-40B4-BE49-F238E27FC236}">
                <a16:creationId xmlns:a16="http://schemas.microsoft.com/office/drawing/2014/main" id="{6393B6A9-CD23-4C79-AFA9-DEC61D5BAA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9838" y="650466"/>
            <a:ext cx="11622699" cy="616030"/>
          </a:xfrm>
          <a:prstGeom prst="rect">
            <a:avLst/>
          </a:prstGeom>
        </p:spPr>
        <p:txBody>
          <a:bodyPr anchor="b"/>
          <a:lstStyle>
            <a:lvl1pPr algn="l">
              <a:defRPr sz="4267" b="1" i="0" cap="all" baseline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3577F095-8480-4732-939C-3E9DB459B01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7046" y="1773193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3413" b="0" i="0" cap="all" baseline="0">
                <a:solidFill>
                  <a:schemeClr val="tx2"/>
                </a:solidFill>
                <a:latin typeface="Uni Sans" charset="0"/>
                <a:ea typeface="Uni Sans" charset="0"/>
                <a:cs typeface="Uni Sans" charset="0"/>
              </a:defRPr>
            </a:lvl1pPr>
            <a:lvl2pPr marL="65023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130046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95069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2600919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61E20A6F-1D39-4300-92ED-584030E4448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336" y="2597311"/>
            <a:ext cx="11658118" cy="3202505"/>
          </a:xfrm>
          <a:prstGeom prst="rect">
            <a:avLst/>
          </a:prstGeom>
        </p:spPr>
        <p:txBody>
          <a:bodyPr/>
          <a:lstStyle>
            <a:lvl1pPr marL="487672" indent="-487672">
              <a:buFont typeface="Lucida Grande"/>
              <a:buChar char="&gt;"/>
              <a:defRPr sz="3413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844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625575" indent="-325115">
              <a:buSzPct val="100000"/>
              <a:buFont typeface="Lucida Grande"/>
              <a:buChar char="&gt;"/>
              <a:defRPr sz="256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2276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926034" indent="-325115">
              <a:buFont typeface="Lucida Grande"/>
              <a:buChar char="&gt;"/>
              <a:defRPr sz="1991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>
              <a:defRPr baseline="0">
                <a:solidFill>
                  <a:schemeClr val="tx2"/>
                </a:solidFill>
              </a:defRPr>
            </a:lvl6pPr>
            <a:lvl7pPr>
              <a:defRPr baseline="0">
                <a:solidFill>
                  <a:schemeClr val="tx2"/>
                </a:solidFill>
              </a:defRPr>
            </a:lvl7pPr>
            <a:lvl9pPr>
              <a:defRPr/>
            </a:lvl9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, 20)</a:t>
            </a:r>
          </a:p>
          <a:p>
            <a:pPr lvl="2"/>
            <a:r>
              <a:rPr lang="en-US"/>
              <a:t>Third level (Open Sans, 18)</a:t>
            </a:r>
          </a:p>
          <a:p>
            <a:pPr lvl="3"/>
            <a:r>
              <a:rPr lang="en-US"/>
              <a:t>Fourth level (Open Sans, 16)</a:t>
            </a:r>
          </a:p>
          <a:p>
            <a:pPr lvl="4"/>
            <a:r>
              <a:rPr lang="en-US"/>
              <a:t>Fifth level (Open Sans, 14)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B5B691B-4BE8-41B0-A257-71C1B224273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0" y="6924606"/>
            <a:ext cx="948267" cy="390595"/>
          </a:xfrm>
          <a:prstGeom prst="rect">
            <a:avLst/>
          </a:prstGeom>
        </p:spPr>
        <p:txBody>
          <a:bodyPr/>
          <a:lstStyle>
            <a:lvl1pPr>
              <a:defRPr sz="1707"/>
            </a:lvl1pPr>
          </a:lstStyle>
          <a:p>
            <a:fld id="{95471BDC-C822-445D-A28A-E864ABD6C12F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3" name="Picture 12" descr="A close up of a logo&#10;&#10;Description automatically generated">
            <a:extLst>
              <a:ext uri="{FF2B5EF4-FFF2-40B4-BE49-F238E27FC236}">
                <a16:creationId xmlns:a16="http://schemas.microsoft.com/office/drawing/2014/main" id="{95D32A91-9890-44D6-97FA-B61CA54D260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35282" y="6749921"/>
            <a:ext cx="2242596" cy="5138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0713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_Content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B0201146-5FF0-41EF-8E25-A6912CF00BB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0845" y="1232526"/>
            <a:ext cx="1569822" cy="137048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18BB9BF8-C3AD-48AA-AFEF-B6EA16EDDA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9838" y="650466"/>
            <a:ext cx="11622699" cy="616030"/>
          </a:xfrm>
          <a:prstGeom prst="rect">
            <a:avLst/>
          </a:prstGeom>
        </p:spPr>
        <p:txBody>
          <a:bodyPr anchor="b"/>
          <a:lstStyle>
            <a:lvl1pPr algn="l">
              <a:defRPr sz="4267" b="1" i="0" cap="all" baseline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F8A96F86-E1F3-44B8-8577-D54D38E6CA2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7046" y="1773193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3413" b="0" i="0" cap="all" baseline="0">
                <a:solidFill>
                  <a:schemeClr val="tx2"/>
                </a:solidFill>
                <a:latin typeface="Uni Sans" charset="0"/>
                <a:ea typeface="Uni Sans" charset="0"/>
                <a:cs typeface="Uni Sans" charset="0"/>
              </a:defRPr>
            </a:lvl1pPr>
            <a:lvl2pPr marL="65023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130046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95069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2600919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C465E57-6766-40C9-B779-7EA907388F4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0" y="6924606"/>
            <a:ext cx="948267" cy="390595"/>
          </a:xfrm>
          <a:prstGeom prst="rect">
            <a:avLst/>
          </a:prstGeom>
        </p:spPr>
        <p:txBody>
          <a:bodyPr/>
          <a:lstStyle>
            <a:lvl1pPr>
              <a:defRPr sz="1707"/>
            </a:lvl1pPr>
          </a:lstStyle>
          <a:p>
            <a:fld id="{95471BDC-C822-445D-A28A-E864ABD6C12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9D2A7B6E-4CE4-4820-80E2-F488D10D17F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336" y="2597311"/>
            <a:ext cx="11658118" cy="3202505"/>
          </a:xfrm>
          <a:prstGeom prst="rect">
            <a:avLst/>
          </a:prstGeom>
        </p:spPr>
        <p:txBody>
          <a:bodyPr/>
          <a:lstStyle>
            <a:lvl1pPr marL="487672" indent="-487672">
              <a:buFont typeface="Lucida Grande"/>
              <a:buChar char="&gt;"/>
              <a:defRPr sz="3413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844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625575" indent="-325115">
              <a:buSzPct val="100000"/>
              <a:buFont typeface="Lucida Grande"/>
              <a:buChar char="&gt;"/>
              <a:defRPr sz="256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2276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926034" indent="-325115">
              <a:buFont typeface="Lucida Grande"/>
              <a:buChar char="&gt;"/>
              <a:defRPr sz="1991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>
              <a:defRPr baseline="0">
                <a:solidFill>
                  <a:schemeClr val="tx2"/>
                </a:solidFill>
              </a:defRPr>
            </a:lvl6pPr>
            <a:lvl7pPr>
              <a:defRPr baseline="0">
                <a:solidFill>
                  <a:schemeClr val="tx2"/>
                </a:solidFill>
              </a:defRPr>
            </a:lvl7pPr>
            <a:lvl9pPr>
              <a:defRPr/>
            </a:lvl9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, 20)</a:t>
            </a:r>
          </a:p>
          <a:p>
            <a:pPr lvl="2"/>
            <a:r>
              <a:rPr lang="en-US"/>
              <a:t>Third level (Open Sans, 18)</a:t>
            </a:r>
          </a:p>
          <a:p>
            <a:pPr lvl="3"/>
            <a:r>
              <a:rPr lang="en-US"/>
              <a:t>Fourth level (Open Sans, 16)</a:t>
            </a:r>
          </a:p>
          <a:p>
            <a:pPr lvl="4"/>
            <a:r>
              <a:rPr lang="en-US"/>
              <a:t>Fifth level (Open Sans, 14)</a:t>
            </a:r>
          </a:p>
        </p:txBody>
      </p:sp>
      <p:pic>
        <p:nvPicPr>
          <p:cNvPr id="11" name="Picture 10" descr="A close up of a logo&#10;&#10;Description automatically generated">
            <a:extLst>
              <a:ext uri="{FF2B5EF4-FFF2-40B4-BE49-F238E27FC236}">
                <a16:creationId xmlns:a16="http://schemas.microsoft.com/office/drawing/2014/main" id="{2FBB18B3-EE67-4B6D-8618-DFF6F2E56FB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35282" y="6749921"/>
            <a:ext cx="2242596" cy="5138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6669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hite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black and white photo of a building&#10;&#10;Description automatically generated">
            <a:extLst>
              <a:ext uri="{FF2B5EF4-FFF2-40B4-BE49-F238E27FC236}">
                <a16:creationId xmlns:a16="http://schemas.microsoft.com/office/drawing/2014/main" id="{EB2F8426-EDA2-431E-90A5-D5F79C865FB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3022990" cy="73152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24EE3DC5-1EDA-4DA5-AE86-8537D59D523A}"/>
              </a:ext>
            </a:extLst>
          </p:cNvPr>
          <p:cNvSpPr/>
          <p:nvPr userDrawn="1"/>
        </p:nvSpPr>
        <p:spPr>
          <a:xfrm>
            <a:off x="-18190" y="0"/>
            <a:ext cx="13041180" cy="7315200"/>
          </a:xfrm>
          <a:prstGeom prst="rect">
            <a:avLst/>
          </a:prstGeom>
          <a:solidFill>
            <a:schemeClr val="bg2">
              <a:alpha val="76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56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7937" y="4873175"/>
            <a:ext cx="2275840" cy="198684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D6670E9-D6F6-47D6-9BC5-9F07D7E02EC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0" y="6924609"/>
            <a:ext cx="948267" cy="390595"/>
          </a:xfrm>
          <a:prstGeom prst="rect">
            <a:avLst/>
          </a:prstGeom>
        </p:spPr>
        <p:txBody>
          <a:bodyPr/>
          <a:lstStyle>
            <a:lvl1pPr>
              <a:defRPr sz="1707"/>
            </a:lvl1pPr>
          </a:lstStyle>
          <a:p>
            <a:fld id="{95471BDC-C822-445D-A28A-E864ABD6C12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73D107E-ADB1-47E1-ACF9-C0E973B398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4755" y="917325"/>
            <a:ext cx="9989035" cy="3757164"/>
          </a:xfrm>
          <a:prstGeom prst="rect">
            <a:avLst/>
          </a:prstGeom>
        </p:spPr>
        <p:txBody>
          <a:bodyPr anchor="b"/>
          <a:lstStyle>
            <a:lvl1pPr algn="l">
              <a:defRPr sz="7111" b="1" i="0" cap="all" baseline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TITLE HERE</a:t>
            </a:r>
            <a:br>
              <a:rPr lang="en-US"/>
            </a:br>
            <a:r>
              <a:rPr lang="en-US"/>
              <a:t>ENCODE NORMAL</a:t>
            </a:r>
            <a:br>
              <a:rPr lang="en-US"/>
            </a:br>
            <a:r>
              <a:rPr lang="en-US"/>
              <a:t>BLACK, 50 PT. </a:t>
            </a:r>
          </a:p>
        </p:txBody>
      </p:sp>
      <p:pic>
        <p:nvPicPr>
          <p:cNvPr id="11" name="Picture 10" descr="A close up of a logo&#10;&#10;Description automatically generated">
            <a:extLst>
              <a:ext uri="{FF2B5EF4-FFF2-40B4-BE49-F238E27FC236}">
                <a16:creationId xmlns:a16="http://schemas.microsoft.com/office/drawing/2014/main" id="{DBA03146-095A-4C6A-8036-A9226202CC3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83902" y="6599041"/>
            <a:ext cx="2250270" cy="5332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99864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hite_Conten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black and white photo of a building&#10;&#10;Description automatically generated">
            <a:extLst>
              <a:ext uri="{FF2B5EF4-FFF2-40B4-BE49-F238E27FC236}">
                <a16:creationId xmlns:a16="http://schemas.microsoft.com/office/drawing/2014/main" id="{ACEBBB61-F2FF-4727-9371-BFCB19E5B40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3022990" cy="73152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B0DF0A47-AC9F-461D-B72F-EDFD74858C7E}"/>
              </a:ext>
            </a:extLst>
          </p:cNvPr>
          <p:cNvSpPr/>
          <p:nvPr userDrawn="1"/>
        </p:nvSpPr>
        <p:spPr>
          <a:xfrm>
            <a:off x="0" y="1"/>
            <a:ext cx="13022990" cy="7315200"/>
          </a:xfrm>
          <a:prstGeom prst="rect">
            <a:avLst/>
          </a:prstGeom>
          <a:solidFill>
            <a:schemeClr val="bg2">
              <a:alpha val="76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56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852314DA-FCE4-415E-B153-A8680786374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0850" y="1232526"/>
            <a:ext cx="1569822" cy="137048"/>
          </a:xfrm>
          <a:prstGeom prst="rect">
            <a:avLst/>
          </a:prstGeom>
        </p:spPr>
      </p:pic>
      <p:sp>
        <p:nvSpPr>
          <p:cNvPr id="18" name="Title 1">
            <a:extLst>
              <a:ext uri="{FF2B5EF4-FFF2-40B4-BE49-F238E27FC236}">
                <a16:creationId xmlns:a16="http://schemas.microsoft.com/office/drawing/2014/main" id="{6393B6A9-CD23-4C79-AFA9-DEC61D5BAA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9838" y="650466"/>
            <a:ext cx="11622699" cy="616030"/>
          </a:xfrm>
          <a:prstGeom prst="rect">
            <a:avLst/>
          </a:prstGeom>
        </p:spPr>
        <p:txBody>
          <a:bodyPr anchor="b"/>
          <a:lstStyle>
            <a:lvl1pPr algn="l">
              <a:defRPr sz="4267" b="1" i="0" cap="all" baseline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3577F095-8480-4732-939C-3E9DB459B01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7046" y="1773196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3413" b="0" i="0" cap="all" baseline="0">
                <a:solidFill>
                  <a:schemeClr val="tx2"/>
                </a:solidFill>
                <a:latin typeface="Uni Sans" charset="0"/>
                <a:ea typeface="Uni Sans" charset="0"/>
                <a:cs typeface="Uni Sans" charset="0"/>
              </a:defRPr>
            </a:lvl1pPr>
            <a:lvl2pPr marL="650214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1300428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950641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2600854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61E20A6F-1D39-4300-92ED-584030E4448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336" y="2597311"/>
            <a:ext cx="11658118" cy="3202505"/>
          </a:xfrm>
          <a:prstGeom prst="rect">
            <a:avLst/>
          </a:prstGeom>
        </p:spPr>
        <p:txBody>
          <a:bodyPr/>
          <a:lstStyle>
            <a:lvl1pPr marL="487661" indent="-487661">
              <a:buFont typeface="Lucida Grande"/>
              <a:buChar char="&gt;"/>
              <a:defRPr sz="3413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844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625535" indent="-325106">
              <a:buSzPct val="100000"/>
              <a:buFont typeface="Lucida Grande"/>
              <a:buChar char="&gt;"/>
              <a:defRPr sz="256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2276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925960" indent="-325106">
              <a:buFont typeface="Lucida Grande"/>
              <a:buChar char="&gt;"/>
              <a:defRPr sz="1991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>
              <a:defRPr baseline="0">
                <a:solidFill>
                  <a:schemeClr val="tx2"/>
                </a:solidFill>
              </a:defRPr>
            </a:lvl6pPr>
            <a:lvl7pPr>
              <a:defRPr baseline="0">
                <a:solidFill>
                  <a:schemeClr val="tx2"/>
                </a:solidFill>
              </a:defRPr>
            </a:lvl7pPr>
            <a:lvl9pPr>
              <a:defRPr/>
            </a:lvl9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, 20)</a:t>
            </a:r>
          </a:p>
          <a:p>
            <a:pPr lvl="2"/>
            <a:r>
              <a:rPr lang="en-US"/>
              <a:t>Third level (Open Sans, 18)</a:t>
            </a:r>
          </a:p>
          <a:p>
            <a:pPr lvl="3"/>
            <a:r>
              <a:rPr lang="en-US"/>
              <a:t>Fourth level (Open Sans, 16)</a:t>
            </a:r>
          </a:p>
          <a:p>
            <a:pPr lvl="4"/>
            <a:r>
              <a:rPr lang="en-US"/>
              <a:t>Fifth level (Open Sans, 14)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B5B691B-4BE8-41B0-A257-71C1B224273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0" y="6924609"/>
            <a:ext cx="948267" cy="390595"/>
          </a:xfrm>
          <a:prstGeom prst="rect">
            <a:avLst/>
          </a:prstGeom>
        </p:spPr>
        <p:txBody>
          <a:bodyPr/>
          <a:lstStyle>
            <a:lvl1pPr>
              <a:defRPr sz="1707"/>
            </a:lvl1pPr>
          </a:lstStyle>
          <a:p>
            <a:fld id="{95471BDC-C822-445D-A28A-E864ABD6C12F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3" name="Picture 12" descr="A close up of a logo&#10;&#10;Description automatically generated">
            <a:extLst>
              <a:ext uri="{FF2B5EF4-FFF2-40B4-BE49-F238E27FC236}">
                <a16:creationId xmlns:a16="http://schemas.microsoft.com/office/drawing/2014/main" id="{95D32A91-9890-44D6-97FA-B61CA54D260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35287" y="6749922"/>
            <a:ext cx="2242596" cy="5138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3003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hite_Content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B0201146-5FF0-41EF-8E25-A6912CF00BB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0850" y="1232526"/>
            <a:ext cx="1569822" cy="137048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18BB9BF8-C3AD-48AA-AFEF-B6EA16EDDA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9838" y="650466"/>
            <a:ext cx="11622699" cy="616030"/>
          </a:xfrm>
          <a:prstGeom prst="rect">
            <a:avLst/>
          </a:prstGeom>
        </p:spPr>
        <p:txBody>
          <a:bodyPr anchor="b"/>
          <a:lstStyle>
            <a:lvl1pPr algn="l">
              <a:defRPr sz="4267" b="1" i="0" cap="all" baseline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F8A96F86-E1F3-44B8-8577-D54D38E6CA2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7046" y="1773196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3413" b="0" i="0" cap="all" baseline="0">
                <a:solidFill>
                  <a:schemeClr val="tx2"/>
                </a:solidFill>
                <a:latin typeface="Uni Sans" charset="0"/>
                <a:ea typeface="Uni Sans" charset="0"/>
                <a:cs typeface="Uni Sans" charset="0"/>
              </a:defRPr>
            </a:lvl1pPr>
            <a:lvl2pPr marL="650214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1300428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950641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2600854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C465E57-6766-40C9-B779-7EA907388F4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0" y="6924609"/>
            <a:ext cx="948267" cy="390595"/>
          </a:xfrm>
          <a:prstGeom prst="rect">
            <a:avLst/>
          </a:prstGeom>
        </p:spPr>
        <p:txBody>
          <a:bodyPr/>
          <a:lstStyle>
            <a:lvl1pPr>
              <a:defRPr sz="1707"/>
            </a:lvl1pPr>
          </a:lstStyle>
          <a:p>
            <a:fld id="{95471BDC-C822-445D-A28A-E864ABD6C12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9D2A7B6E-4CE4-4820-80E2-F488D10D17F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336" y="2597311"/>
            <a:ext cx="11658118" cy="3202505"/>
          </a:xfrm>
          <a:prstGeom prst="rect">
            <a:avLst/>
          </a:prstGeom>
        </p:spPr>
        <p:txBody>
          <a:bodyPr/>
          <a:lstStyle>
            <a:lvl1pPr marL="487661" indent="-487661">
              <a:buFont typeface="Lucida Grande"/>
              <a:buChar char="&gt;"/>
              <a:defRPr sz="3413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844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625535" indent="-325106">
              <a:buSzPct val="100000"/>
              <a:buFont typeface="Lucida Grande"/>
              <a:buChar char="&gt;"/>
              <a:defRPr sz="256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2276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925960" indent="-325106">
              <a:buFont typeface="Lucida Grande"/>
              <a:buChar char="&gt;"/>
              <a:defRPr sz="1991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>
              <a:defRPr baseline="0">
                <a:solidFill>
                  <a:schemeClr val="tx2"/>
                </a:solidFill>
              </a:defRPr>
            </a:lvl6pPr>
            <a:lvl7pPr>
              <a:defRPr baseline="0">
                <a:solidFill>
                  <a:schemeClr val="tx2"/>
                </a:solidFill>
              </a:defRPr>
            </a:lvl7pPr>
            <a:lvl9pPr>
              <a:defRPr/>
            </a:lvl9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, 20)</a:t>
            </a:r>
          </a:p>
          <a:p>
            <a:pPr lvl="2"/>
            <a:r>
              <a:rPr lang="en-US"/>
              <a:t>Third level (Open Sans, 18)</a:t>
            </a:r>
          </a:p>
          <a:p>
            <a:pPr lvl="3"/>
            <a:r>
              <a:rPr lang="en-US"/>
              <a:t>Fourth level (Open Sans, 16)</a:t>
            </a:r>
          </a:p>
          <a:p>
            <a:pPr lvl="4"/>
            <a:r>
              <a:rPr lang="en-US"/>
              <a:t>Fifth level (Open Sans, 14)</a:t>
            </a:r>
          </a:p>
        </p:txBody>
      </p:sp>
      <p:pic>
        <p:nvPicPr>
          <p:cNvPr id="11" name="Picture 10" descr="A close up of a logo&#10;&#10;Description automatically generated">
            <a:extLst>
              <a:ext uri="{FF2B5EF4-FFF2-40B4-BE49-F238E27FC236}">
                <a16:creationId xmlns:a16="http://schemas.microsoft.com/office/drawing/2014/main" id="{2FBB18B3-EE67-4B6D-8618-DFF6F2E56FB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35287" y="6749922"/>
            <a:ext cx="2242596" cy="5138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7659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_Graphic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0845" y="1232526"/>
            <a:ext cx="1569822" cy="13704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9838" y="650466"/>
            <a:ext cx="11622699" cy="616030"/>
          </a:xfrm>
          <a:prstGeom prst="rect">
            <a:avLst/>
          </a:prstGeom>
        </p:spPr>
        <p:txBody>
          <a:bodyPr anchor="b"/>
          <a:lstStyle>
            <a:lvl1pPr algn="l">
              <a:defRPr sz="4267" b="1" i="0" cap="all" baseline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sp>
        <p:nvSpPr>
          <p:cNvPr id="8" name="Chart Placeholder 11">
            <a:extLst>
              <a:ext uri="{FF2B5EF4-FFF2-40B4-BE49-F238E27FC236}">
                <a16:creationId xmlns:a16="http://schemas.microsoft.com/office/drawing/2014/main" id="{B353FF43-8C4D-428C-8468-F9C1DA4BB37F}"/>
              </a:ext>
            </a:extLst>
          </p:cNvPr>
          <p:cNvSpPr>
            <a:spLocks noGrp="1"/>
          </p:cNvSpPr>
          <p:nvPr>
            <p:ph type="chart" sz="quarter" idx="12" hasCustomPrompt="1"/>
          </p:nvPr>
        </p:nvSpPr>
        <p:spPr>
          <a:xfrm>
            <a:off x="654756" y="1547120"/>
            <a:ext cx="11640408" cy="506107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3413" b="0" i="1" baseline="0">
                <a:solidFill>
                  <a:schemeClr val="tx1"/>
                </a:solidFill>
                <a:latin typeface="Open Sans Light"/>
                <a:cs typeface="Open Sans Light"/>
              </a:defRPr>
            </a:lvl1pPr>
          </a:lstStyle>
          <a:p>
            <a:r>
              <a:rPr lang="en-US"/>
              <a:t>Graphics can go here – </a:t>
            </a:r>
            <a:br>
              <a:rPr lang="en-US"/>
            </a:br>
            <a:r>
              <a:rPr lang="en-US"/>
              <a:t>replace this box with your image or char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1F7CE91-3E86-4CA5-8287-3D53C50BE66A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0" y="6924606"/>
            <a:ext cx="948267" cy="390595"/>
          </a:xfrm>
          <a:prstGeom prst="rect">
            <a:avLst/>
          </a:prstGeom>
        </p:spPr>
        <p:txBody>
          <a:bodyPr/>
          <a:lstStyle>
            <a:lvl1pPr>
              <a:defRPr sz="1707"/>
            </a:lvl1pPr>
          </a:lstStyle>
          <a:p>
            <a:fld id="{95471BDC-C822-445D-A28A-E864ABD6C12F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5" name="Picture 4" descr="A close up of a logo&#10;&#10;Description automatically generated">
            <a:extLst>
              <a:ext uri="{FF2B5EF4-FFF2-40B4-BE49-F238E27FC236}">
                <a16:creationId xmlns:a16="http://schemas.microsoft.com/office/drawing/2014/main" id="{5983420E-A6C9-454C-BA64-00D314D7C16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35282" y="6749921"/>
            <a:ext cx="2242596" cy="5138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42769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Header + Sub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Wordmark_center_Purple_HEX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76846" y="6919954"/>
            <a:ext cx="3449309" cy="174266"/>
          </a:xfrm>
          <a:prstGeom prst="rect">
            <a:avLst/>
          </a:prstGeom>
        </p:spPr>
      </p:pic>
      <p:pic>
        <p:nvPicPr>
          <p:cNvPr id="8" name="Picture 7" descr="Bar_RtAngle_7502_RGB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5342" y="998875"/>
            <a:ext cx="1931639" cy="7152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55388" y="384842"/>
            <a:ext cx="11640410" cy="571942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(ENCODE NORMAL BLACK, 30 PT.)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937681" y="1525400"/>
            <a:ext cx="11658117" cy="5252450"/>
          </a:xfrm>
          <a:prstGeom prst="rect">
            <a:avLst/>
          </a:prstGeom>
        </p:spPr>
        <p:txBody>
          <a:bodyPr/>
          <a:lstStyle>
            <a:lvl1pPr marL="365782" indent="-365782">
              <a:buFont typeface="Lucida Grande"/>
              <a:buChar char="&gt;"/>
              <a:defRPr sz="2560" b="1" i="0" baseline="0">
                <a:solidFill>
                  <a:schemeClr val="tx1"/>
                </a:solidFill>
                <a:latin typeface="Open Sans"/>
                <a:cs typeface="Open Sans"/>
              </a:defRPr>
            </a:lvl1pPr>
            <a:lvl2pPr>
              <a:defRPr sz="2133" b="1" i="0" baseline="0">
                <a:solidFill>
                  <a:schemeClr val="tx1"/>
                </a:solidFill>
                <a:latin typeface="Open Sans"/>
                <a:cs typeface="Open Sans"/>
              </a:defRPr>
            </a:lvl2pPr>
            <a:lvl3pPr marL="1219277" indent="-243856">
              <a:buSzPct val="100000"/>
              <a:buFont typeface="Lucida Grande"/>
              <a:buChar char="&gt;"/>
              <a:defRPr sz="1920" b="1" i="0" baseline="0">
                <a:solidFill>
                  <a:schemeClr val="tx1"/>
                </a:solidFill>
                <a:latin typeface="Open Sans"/>
                <a:cs typeface="Open Sans"/>
              </a:defRPr>
            </a:lvl3pPr>
            <a:lvl4pPr>
              <a:defRPr sz="1707" b="1" i="0" baseline="0">
                <a:solidFill>
                  <a:schemeClr val="tx1"/>
                </a:solidFill>
                <a:latin typeface="Open Sans"/>
                <a:cs typeface="Open Sans"/>
              </a:defRPr>
            </a:lvl4pPr>
            <a:lvl5pPr marL="2194698" indent="-243856">
              <a:buFont typeface="Lucida Grande"/>
              <a:buChar char="&gt;"/>
              <a:defRPr sz="1493" b="1" i="0" baseline="0">
                <a:solidFill>
                  <a:schemeClr val="tx1"/>
                </a:solidFill>
                <a:latin typeface="Open Sans"/>
                <a:cs typeface="Open Sans"/>
              </a:defRPr>
            </a:lvl5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 Bold, 20)</a:t>
            </a:r>
          </a:p>
          <a:p>
            <a:pPr lvl="2"/>
            <a:r>
              <a:rPr lang="en-US"/>
              <a:t>Third level (Open Sans Bold, 18)</a:t>
            </a:r>
          </a:p>
          <a:p>
            <a:pPr lvl="3"/>
            <a:r>
              <a:rPr lang="en-US"/>
              <a:t>Fourth level (Open Sans Bold, 16)</a:t>
            </a:r>
          </a:p>
          <a:p>
            <a:pPr lvl="4"/>
            <a:r>
              <a:rPr lang="en-US"/>
              <a:t>Fifth level (Open Sans Bold, 14)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955389" y="1098103"/>
            <a:ext cx="11640409" cy="28598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1493" b="0" i="0" baseline="0">
                <a:solidFill>
                  <a:schemeClr val="accent4">
                    <a:lumMod val="50000"/>
                  </a:schemeClr>
                </a:solidFill>
                <a:latin typeface="Uni Sans Book" panose="00000500000000000000" pitchFamily="50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8771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42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313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84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OPEN SANS, 14 PT.)</a:t>
            </a:r>
          </a:p>
        </p:txBody>
      </p:sp>
      <p:sp>
        <p:nvSpPr>
          <p:cNvPr id="17" name="Slide Number Placeholder 10">
            <a:extLst>
              <a:ext uri="{FF2B5EF4-FFF2-40B4-BE49-F238E27FC236}">
                <a16:creationId xmlns:a16="http://schemas.microsoft.com/office/drawing/2014/main" id="{A2ED9C39-E899-4AC0-8CCE-662F985473A4}"/>
              </a:ext>
            </a:extLst>
          </p:cNvPr>
          <p:cNvSpPr txBox="1">
            <a:spLocks/>
          </p:cNvSpPr>
          <p:nvPr userDrawn="1"/>
        </p:nvSpPr>
        <p:spPr>
          <a:xfrm>
            <a:off x="178179" y="6922427"/>
            <a:ext cx="453426" cy="389467"/>
          </a:xfrm>
          <a:prstGeom prst="rect">
            <a:avLst/>
          </a:prstGeom>
        </p:spPr>
        <p:txBody>
          <a:bodyPr vert="horz" lIns="97536" tIns="48768" rIns="97536" bIns="48768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877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DA41B0-E16D-48B4-8B5D-6BC89192C442}" type="slidenum">
              <a:rPr kumimoji="0" lang="en-US" sz="1280" b="0" i="0" u="none" strike="noStrike" kern="1200" cap="none" spc="0" normalizeH="0" baseline="0" noProof="0" smtClean="0">
                <a:ln>
                  <a:noFill/>
                </a:ln>
                <a:solidFill>
                  <a:srgbClr val="33006F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77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80" b="0" i="0" u="none" strike="noStrike" kern="1200" cap="none" spc="0" normalizeH="0" baseline="0" noProof="0" dirty="0">
              <a:ln>
                <a:noFill/>
              </a:ln>
              <a:solidFill>
                <a:srgbClr val="33006F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59726761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White_Conten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black and white photo of a building&#10;&#10;Description automatically generated">
            <a:extLst>
              <a:ext uri="{FF2B5EF4-FFF2-40B4-BE49-F238E27FC236}">
                <a16:creationId xmlns:a16="http://schemas.microsoft.com/office/drawing/2014/main" id="{ACEBBB61-F2FF-4727-9371-BFCB19E5B40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3022990" cy="73152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B0DF0A47-AC9F-461D-B72F-EDFD74858C7E}"/>
              </a:ext>
            </a:extLst>
          </p:cNvPr>
          <p:cNvSpPr/>
          <p:nvPr userDrawn="1"/>
        </p:nvSpPr>
        <p:spPr>
          <a:xfrm>
            <a:off x="0" y="1"/>
            <a:ext cx="13022990" cy="7315200"/>
          </a:xfrm>
          <a:prstGeom prst="rect">
            <a:avLst/>
          </a:prstGeom>
          <a:solidFill>
            <a:schemeClr val="bg2">
              <a:alpha val="76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02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6393B6A9-CD23-4C79-AFA9-DEC61D5BAA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9838" y="650466"/>
            <a:ext cx="11622699" cy="616030"/>
          </a:xfrm>
          <a:prstGeom prst="rect">
            <a:avLst/>
          </a:prstGeom>
        </p:spPr>
        <p:txBody>
          <a:bodyPr anchor="b"/>
          <a:lstStyle>
            <a:lvl1pPr algn="l">
              <a:defRPr sz="4267" b="1" i="0" cap="all" baseline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3577F095-8480-4732-939C-3E9DB459B01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7046" y="1773193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3413" b="0" i="0" cap="all" baseline="0">
                <a:solidFill>
                  <a:schemeClr val="tx2"/>
                </a:solidFill>
                <a:latin typeface="Uni Sans" charset="0"/>
                <a:ea typeface="Uni Sans" charset="0"/>
                <a:cs typeface="Uni Sans" charset="0"/>
              </a:defRPr>
            </a:lvl1pPr>
            <a:lvl2pPr marL="65023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130046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95069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2600919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61E20A6F-1D39-4300-92ED-584030E4448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336" y="2597311"/>
            <a:ext cx="11658118" cy="3202505"/>
          </a:xfrm>
          <a:prstGeom prst="rect">
            <a:avLst/>
          </a:prstGeom>
        </p:spPr>
        <p:txBody>
          <a:bodyPr/>
          <a:lstStyle>
            <a:lvl1pPr marL="487672" indent="-487672">
              <a:buFont typeface="Lucida Grande"/>
              <a:buChar char="&gt;"/>
              <a:defRPr sz="3413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844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625575" indent="-325115">
              <a:buSzPct val="100000"/>
              <a:buFont typeface="Lucida Grande"/>
              <a:buChar char="&gt;"/>
              <a:defRPr sz="256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2276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926034" indent="-325115">
              <a:buFont typeface="Lucida Grande"/>
              <a:buChar char="&gt;"/>
              <a:defRPr sz="1991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>
              <a:defRPr baseline="0">
                <a:solidFill>
                  <a:schemeClr val="tx2"/>
                </a:solidFill>
              </a:defRPr>
            </a:lvl6pPr>
            <a:lvl7pPr>
              <a:defRPr baseline="0">
                <a:solidFill>
                  <a:schemeClr val="tx2"/>
                </a:solidFill>
              </a:defRPr>
            </a:lvl7pPr>
            <a:lvl9pPr>
              <a:defRPr/>
            </a:lvl9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, 20)</a:t>
            </a:r>
          </a:p>
          <a:p>
            <a:pPr lvl="2"/>
            <a:r>
              <a:rPr lang="en-US"/>
              <a:t>Third level (Open Sans, 18)</a:t>
            </a:r>
          </a:p>
          <a:p>
            <a:pPr lvl="3"/>
            <a:r>
              <a:rPr lang="en-US"/>
              <a:t>Fourth level (Open Sans, 16)</a:t>
            </a:r>
          </a:p>
          <a:p>
            <a:pPr lvl="4"/>
            <a:r>
              <a:rPr lang="en-US"/>
              <a:t>Fifth level (Open Sans, 14)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B5B691B-4BE8-41B0-A257-71C1B224273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0" y="6924606"/>
            <a:ext cx="948267" cy="390595"/>
          </a:xfrm>
          <a:prstGeom prst="rect">
            <a:avLst/>
          </a:prstGeom>
        </p:spPr>
        <p:txBody>
          <a:bodyPr/>
          <a:lstStyle>
            <a:lvl1pPr>
              <a:defRPr sz="1707"/>
            </a:lvl1pPr>
          </a:lstStyle>
          <a:p>
            <a:fld id="{95471BDC-C822-445D-A28A-E864ABD6C12F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3" name="Picture 12" descr="A close up of a logo&#10;&#10;Description automatically generated">
            <a:extLst>
              <a:ext uri="{FF2B5EF4-FFF2-40B4-BE49-F238E27FC236}">
                <a16:creationId xmlns:a16="http://schemas.microsoft.com/office/drawing/2014/main" id="{95D32A91-9890-44D6-97FA-B61CA54D260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35282" y="6749921"/>
            <a:ext cx="2242596" cy="5138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94490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White_Content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18BB9BF8-C3AD-48AA-AFEF-B6EA16EDDA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9838" y="650466"/>
            <a:ext cx="11622699" cy="616030"/>
          </a:xfrm>
          <a:prstGeom prst="rect">
            <a:avLst/>
          </a:prstGeom>
        </p:spPr>
        <p:txBody>
          <a:bodyPr anchor="b"/>
          <a:lstStyle>
            <a:lvl1pPr algn="l">
              <a:defRPr sz="4267" b="1" i="0" cap="all" baseline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F8A96F86-E1F3-44B8-8577-D54D38E6CA2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7046" y="1773193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3413" b="0" i="0" cap="all" baseline="0">
                <a:solidFill>
                  <a:schemeClr val="tx2"/>
                </a:solidFill>
                <a:latin typeface="Uni Sans" charset="0"/>
                <a:ea typeface="Uni Sans" charset="0"/>
                <a:cs typeface="Uni Sans" charset="0"/>
              </a:defRPr>
            </a:lvl1pPr>
            <a:lvl2pPr marL="65023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130046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95069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2600919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C465E57-6766-40C9-B779-7EA907388F4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0" y="6924606"/>
            <a:ext cx="948267" cy="390595"/>
          </a:xfrm>
          <a:prstGeom prst="rect">
            <a:avLst/>
          </a:prstGeom>
        </p:spPr>
        <p:txBody>
          <a:bodyPr/>
          <a:lstStyle>
            <a:lvl1pPr>
              <a:defRPr sz="1707"/>
            </a:lvl1pPr>
          </a:lstStyle>
          <a:p>
            <a:fld id="{95471BDC-C822-445D-A28A-E864ABD6C12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9D2A7B6E-4CE4-4820-80E2-F488D10D17F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336" y="2597311"/>
            <a:ext cx="11658118" cy="3202505"/>
          </a:xfrm>
          <a:prstGeom prst="rect">
            <a:avLst/>
          </a:prstGeom>
        </p:spPr>
        <p:txBody>
          <a:bodyPr/>
          <a:lstStyle>
            <a:lvl1pPr marL="487672" indent="-487672">
              <a:buFont typeface="Lucida Grande"/>
              <a:buChar char="&gt;"/>
              <a:defRPr sz="3413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844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625575" indent="-325115">
              <a:buSzPct val="100000"/>
              <a:buFont typeface="Lucida Grande"/>
              <a:buChar char="&gt;"/>
              <a:defRPr sz="256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2276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926034" indent="-325115">
              <a:buFont typeface="Lucida Grande"/>
              <a:buChar char="&gt;"/>
              <a:defRPr sz="1991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>
              <a:defRPr baseline="0">
                <a:solidFill>
                  <a:schemeClr val="tx2"/>
                </a:solidFill>
              </a:defRPr>
            </a:lvl6pPr>
            <a:lvl7pPr>
              <a:defRPr baseline="0">
                <a:solidFill>
                  <a:schemeClr val="tx2"/>
                </a:solidFill>
              </a:defRPr>
            </a:lvl7pPr>
            <a:lvl9pPr>
              <a:defRPr/>
            </a:lvl9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, 20)</a:t>
            </a:r>
          </a:p>
          <a:p>
            <a:pPr lvl="2"/>
            <a:r>
              <a:rPr lang="en-US"/>
              <a:t>Third level (Open Sans, 18)</a:t>
            </a:r>
          </a:p>
          <a:p>
            <a:pPr lvl="3"/>
            <a:r>
              <a:rPr lang="en-US"/>
              <a:t>Fourth level (Open Sans, 16)</a:t>
            </a:r>
          </a:p>
          <a:p>
            <a:pPr lvl="4"/>
            <a:r>
              <a:rPr lang="en-US"/>
              <a:t>Fifth level (Open Sans, 14)</a:t>
            </a:r>
          </a:p>
        </p:txBody>
      </p:sp>
      <p:pic>
        <p:nvPicPr>
          <p:cNvPr id="11" name="Picture 10" descr="A close up of a logo&#10;&#10;Description automatically generated">
            <a:extLst>
              <a:ext uri="{FF2B5EF4-FFF2-40B4-BE49-F238E27FC236}">
                <a16:creationId xmlns:a16="http://schemas.microsoft.com/office/drawing/2014/main" id="{2FBB18B3-EE67-4B6D-8618-DFF6F2E56FB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35282" y="6749921"/>
            <a:ext cx="2242596" cy="5138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4523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White_Conten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black and white photo of a building&#10;&#10;Description automatically generated">
            <a:extLst>
              <a:ext uri="{FF2B5EF4-FFF2-40B4-BE49-F238E27FC236}">
                <a16:creationId xmlns:a16="http://schemas.microsoft.com/office/drawing/2014/main" id="{ACEBBB61-F2FF-4727-9371-BFCB19E5B40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3022990" cy="73152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B0DF0A47-AC9F-461D-B72F-EDFD74858C7E}"/>
              </a:ext>
            </a:extLst>
          </p:cNvPr>
          <p:cNvSpPr/>
          <p:nvPr userDrawn="1"/>
        </p:nvSpPr>
        <p:spPr>
          <a:xfrm>
            <a:off x="0" y="1"/>
            <a:ext cx="13022990" cy="7315200"/>
          </a:xfrm>
          <a:prstGeom prst="rect">
            <a:avLst/>
          </a:prstGeom>
          <a:solidFill>
            <a:schemeClr val="bg2">
              <a:alpha val="76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560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6393B6A9-CD23-4C79-AFA9-DEC61D5BAA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9838" y="650466"/>
            <a:ext cx="11622699" cy="616030"/>
          </a:xfrm>
          <a:prstGeom prst="rect">
            <a:avLst/>
          </a:prstGeom>
        </p:spPr>
        <p:txBody>
          <a:bodyPr anchor="b"/>
          <a:lstStyle>
            <a:lvl1pPr algn="l">
              <a:defRPr sz="4267" b="1" i="0" cap="all" baseline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3577F095-8480-4732-939C-3E9DB459B01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7046" y="1773196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3413" b="0" i="0" cap="all" baseline="0">
                <a:solidFill>
                  <a:schemeClr val="tx2"/>
                </a:solidFill>
                <a:latin typeface="Uni Sans" charset="0"/>
                <a:ea typeface="Uni Sans" charset="0"/>
                <a:cs typeface="Uni Sans" charset="0"/>
              </a:defRPr>
            </a:lvl1pPr>
            <a:lvl2pPr marL="650214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1300428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950641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2600854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61E20A6F-1D39-4300-92ED-584030E4448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336" y="2597311"/>
            <a:ext cx="11658118" cy="3202505"/>
          </a:xfrm>
          <a:prstGeom prst="rect">
            <a:avLst/>
          </a:prstGeom>
        </p:spPr>
        <p:txBody>
          <a:bodyPr/>
          <a:lstStyle>
            <a:lvl1pPr marL="487661" indent="-487661">
              <a:buFont typeface="Lucida Grande"/>
              <a:buChar char="&gt;"/>
              <a:defRPr sz="3413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844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625535" indent="-325106">
              <a:buSzPct val="100000"/>
              <a:buFont typeface="Lucida Grande"/>
              <a:buChar char="&gt;"/>
              <a:defRPr sz="256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2276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925960" indent="-325106">
              <a:buFont typeface="Lucida Grande"/>
              <a:buChar char="&gt;"/>
              <a:defRPr sz="1991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>
              <a:defRPr baseline="0">
                <a:solidFill>
                  <a:schemeClr val="tx2"/>
                </a:solidFill>
              </a:defRPr>
            </a:lvl6pPr>
            <a:lvl7pPr>
              <a:defRPr baseline="0">
                <a:solidFill>
                  <a:schemeClr val="tx2"/>
                </a:solidFill>
              </a:defRPr>
            </a:lvl7pPr>
            <a:lvl9pPr>
              <a:defRPr/>
            </a:lvl9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, 20)</a:t>
            </a:r>
          </a:p>
          <a:p>
            <a:pPr lvl="2"/>
            <a:r>
              <a:rPr lang="en-US"/>
              <a:t>Third level (Open Sans, 18)</a:t>
            </a:r>
          </a:p>
          <a:p>
            <a:pPr lvl="3"/>
            <a:r>
              <a:rPr lang="en-US"/>
              <a:t>Fourth level (Open Sans, 16)</a:t>
            </a:r>
          </a:p>
          <a:p>
            <a:pPr lvl="4"/>
            <a:r>
              <a:rPr lang="en-US"/>
              <a:t>Fifth level (Open Sans, 14)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B5B691B-4BE8-41B0-A257-71C1B224273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0" y="6924609"/>
            <a:ext cx="948267" cy="390595"/>
          </a:xfrm>
          <a:prstGeom prst="rect">
            <a:avLst/>
          </a:prstGeom>
        </p:spPr>
        <p:txBody>
          <a:bodyPr/>
          <a:lstStyle>
            <a:lvl1pPr>
              <a:defRPr sz="1707"/>
            </a:lvl1pPr>
          </a:lstStyle>
          <a:p>
            <a:fld id="{95471BDC-C822-445D-A28A-E864ABD6C12F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3" name="Picture 12" descr="A close up of a logo&#10;&#10;Description automatically generated">
            <a:extLst>
              <a:ext uri="{FF2B5EF4-FFF2-40B4-BE49-F238E27FC236}">
                <a16:creationId xmlns:a16="http://schemas.microsoft.com/office/drawing/2014/main" id="{95D32A91-9890-44D6-97FA-B61CA54D260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35287" y="6749922"/>
            <a:ext cx="2242596" cy="5138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9297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White_Content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18BB9BF8-C3AD-48AA-AFEF-B6EA16EDDA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9838" y="650466"/>
            <a:ext cx="11622699" cy="616030"/>
          </a:xfrm>
          <a:prstGeom prst="rect">
            <a:avLst/>
          </a:prstGeom>
        </p:spPr>
        <p:txBody>
          <a:bodyPr anchor="b"/>
          <a:lstStyle>
            <a:lvl1pPr algn="l">
              <a:defRPr sz="4267" b="1" i="0" cap="all" baseline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F8A96F86-E1F3-44B8-8577-D54D38E6CA2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7046" y="1773196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3413" b="0" i="0" cap="all" baseline="0">
                <a:solidFill>
                  <a:schemeClr val="tx2"/>
                </a:solidFill>
                <a:latin typeface="Uni Sans" charset="0"/>
                <a:ea typeface="Uni Sans" charset="0"/>
                <a:cs typeface="Uni Sans" charset="0"/>
              </a:defRPr>
            </a:lvl1pPr>
            <a:lvl2pPr marL="650214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1300428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950641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2600854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C465E57-6766-40C9-B779-7EA907388F4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0" y="6924609"/>
            <a:ext cx="948267" cy="390595"/>
          </a:xfrm>
          <a:prstGeom prst="rect">
            <a:avLst/>
          </a:prstGeom>
        </p:spPr>
        <p:txBody>
          <a:bodyPr/>
          <a:lstStyle>
            <a:lvl1pPr>
              <a:defRPr sz="1707"/>
            </a:lvl1pPr>
          </a:lstStyle>
          <a:p>
            <a:fld id="{95471BDC-C822-445D-A28A-E864ABD6C12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9D2A7B6E-4CE4-4820-80E2-F488D10D17F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336" y="2597311"/>
            <a:ext cx="11658118" cy="3202505"/>
          </a:xfrm>
          <a:prstGeom prst="rect">
            <a:avLst/>
          </a:prstGeom>
        </p:spPr>
        <p:txBody>
          <a:bodyPr/>
          <a:lstStyle>
            <a:lvl1pPr marL="487661" indent="-487661">
              <a:buFont typeface="Lucida Grande"/>
              <a:buChar char="&gt;"/>
              <a:defRPr sz="3413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844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625535" indent="-325106">
              <a:buSzPct val="100000"/>
              <a:buFont typeface="Lucida Grande"/>
              <a:buChar char="&gt;"/>
              <a:defRPr sz="256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2276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925960" indent="-325106">
              <a:buFont typeface="Lucida Grande"/>
              <a:buChar char="&gt;"/>
              <a:defRPr sz="1991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>
              <a:defRPr baseline="0">
                <a:solidFill>
                  <a:schemeClr val="tx2"/>
                </a:solidFill>
              </a:defRPr>
            </a:lvl6pPr>
            <a:lvl7pPr>
              <a:defRPr baseline="0">
                <a:solidFill>
                  <a:schemeClr val="tx2"/>
                </a:solidFill>
              </a:defRPr>
            </a:lvl7pPr>
            <a:lvl9pPr>
              <a:defRPr/>
            </a:lvl9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, 20)</a:t>
            </a:r>
          </a:p>
          <a:p>
            <a:pPr lvl="2"/>
            <a:r>
              <a:rPr lang="en-US"/>
              <a:t>Third level (Open Sans, 18)</a:t>
            </a:r>
          </a:p>
          <a:p>
            <a:pPr lvl="3"/>
            <a:r>
              <a:rPr lang="en-US"/>
              <a:t>Fourth level (Open Sans, 16)</a:t>
            </a:r>
          </a:p>
          <a:p>
            <a:pPr lvl="4"/>
            <a:r>
              <a:rPr lang="en-US"/>
              <a:t>Fifth level (Open Sans, 14)</a:t>
            </a:r>
          </a:p>
        </p:txBody>
      </p:sp>
      <p:pic>
        <p:nvPicPr>
          <p:cNvPr id="11" name="Picture 10" descr="A close up of a logo&#10;&#10;Description automatically generated">
            <a:extLst>
              <a:ext uri="{FF2B5EF4-FFF2-40B4-BE49-F238E27FC236}">
                <a16:creationId xmlns:a16="http://schemas.microsoft.com/office/drawing/2014/main" id="{2FBB18B3-EE67-4B6D-8618-DFF6F2E56FB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35287" y="6749922"/>
            <a:ext cx="2242596" cy="5138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27102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hite_Graphic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9838" y="650466"/>
            <a:ext cx="11622699" cy="616030"/>
          </a:xfrm>
          <a:prstGeom prst="rect">
            <a:avLst/>
          </a:prstGeom>
        </p:spPr>
        <p:txBody>
          <a:bodyPr anchor="b"/>
          <a:lstStyle>
            <a:lvl1pPr algn="l">
              <a:defRPr sz="4267" b="1" i="0" cap="all" baseline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sp>
        <p:nvSpPr>
          <p:cNvPr id="8" name="Chart Placeholder 11">
            <a:extLst>
              <a:ext uri="{FF2B5EF4-FFF2-40B4-BE49-F238E27FC236}">
                <a16:creationId xmlns:a16="http://schemas.microsoft.com/office/drawing/2014/main" id="{B353FF43-8C4D-428C-8468-F9C1DA4BB37F}"/>
              </a:ext>
            </a:extLst>
          </p:cNvPr>
          <p:cNvSpPr>
            <a:spLocks noGrp="1"/>
          </p:cNvSpPr>
          <p:nvPr>
            <p:ph type="chart" sz="quarter" idx="12" hasCustomPrompt="1"/>
          </p:nvPr>
        </p:nvSpPr>
        <p:spPr>
          <a:xfrm>
            <a:off x="654756" y="1547120"/>
            <a:ext cx="11640408" cy="506107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3413" b="0" i="1" baseline="0">
                <a:solidFill>
                  <a:schemeClr val="tx1"/>
                </a:solidFill>
                <a:latin typeface="Open Sans Light"/>
                <a:cs typeface="Open Sans Light"/>
              </a:defRPr>
            </a:lvl1pPr>
          </a:lstStyle>
          <a:p>
            <a:r>
              <a:rPr lang="en-US"/>
              <a:t>Graphics can go here – </a:t>
            </a:r>
            <a:br>
              <a:rPr lang="en-US"/>
            </a:br>
            <a:r>
              <a:rPr lang="en-US"/>
              <a:t>replace this box with your image or char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1F7CE91-3E86-4CA5-8287-3D53C50BE66A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0" y="6924606"/>
            <a:ext cx="948267" cy="390595"/>
          </a:xfrm>
          <a:prstGeom prst="rect">
            <a:avLst/>
          </a:prstGeom>
        </p:spPr>
        <p:txBody>
          <a:bodyPr/>
          <a:lstStyle>
            <a:lvl1pPr>
              <a:defRPr sz="1707"/>
            </a:lvl1pPr>
          </a:lstStyle>
          <a:p>
            <a:fld id="{95471BDC-C822-445D-A28A-E864ABD6C12F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5" name="Picture 4" descr="A close up of a logo&#10;&#10;Description automatically generated">
            <a:extLst>
              <a:ext uri="{FF2B5EF4-FFF2-40B4-BE49-F238E27FC236}">
                <a16:creationId xmlns:a16="http://schemas.microsoft.com/office/drawing/2014/main" id="{5983420E-A6C9-454C-BA64-00D314D7C16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35282" y="6749921"/>
            <a:ext cx="2242596" cy="5138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14043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E968516-223E-48D2-BE13-88A96C431C8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698" y="1698"/>
          <a:ext cx="1692" cy="16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24" imgH="526" progId="TCLayout.ActiveDocument.1">
                  <p:embed/>
                </p:oleObj>
              </mc:Choice>
              <mc:Fallback>
                <p:oleObj name="think-cell Slide" r:id="rId3" imgW="524" imgH="5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E968516-223E-48D2-BE13-88A96C431C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98" y="1698"/>
                        <a:ext cx="1692" cy="169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713439" y="396280"/>
            <a:ext cx="11640408" cy="47701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None/>
              <a:defRPr sz="3200" b="0" i="0" baseline="0">
                <a:solidFill>
                  <a:srgbClr val="33006F"/>
                </a:solidFill>
                <a:latin typeface="Encode Sans Normal Black" panose="02000000000000000000" pitchFamily="2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87675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35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3027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70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HEADER HERE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695727" y="1100118"/>
            <a:ext cx="11656832" cy="5417556"/>
          </a:xfrm>
          <a:prstGeom prst="rect">
            <a:avLst/>
          </a:prstGeom>
        </p:spPr>
        <p:txBody>
          <a:bodyPr/>
          <a:lstStyle>
            <a:lvl1pPr marL="365757" indent="-365757">
              <a:buFont typeface="Lucida Grande"/>
              <a:buChar char="&gt;"/>
              <a:defRPr sz="2560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 sz="2133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219189" indent="-243839">
              <a:buSzPct val="100000"/>
              <a:buFont typeface="Lucida Grande"/>
              <a:buChar char="&gt;"/>
              <a:defRPr sz="1920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>
              <a:defRPr sz="1707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2194540" indent="-243839">
              <a:buFont typeface="Lucida Grande"/>
              <a:buChar char="&gt;"/>
              <a:defRPr sz="1493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US"/>
              <a:t>Bulleted content here (Calibri Regular, 24 pt.)</a:t>
            </a:r>
          </a:p>
          <a:p>
            <a:pPr lvl="1"/>
            <a:r>
              <a:rPr lang="en-US"/>
              <a:t>Second level (Calibri Regular, 20)</a:t>
            </a:r>
          </a:p>
          <a:p>
            <a:pPr lvl="2"/>
            <a:r>
              <a:rPr lang="en-US"/>
              <a:t>Third level (Calibri Regular, 18)</a:t>
            </a:r>
          </a:p>
          <a:p>
            <a:pPr lvl="3"/>
            <a:r>
              <a:rPr lang="en-US"/>
              <a:t>Fourth level (Calibri Regular, 16)</a:t>
            </a:r>
          </a:p>
          <a:p>
            <a:pPr lvl="4"/>
            <a:r>
              <a:rPr lang="en-US"/>
              <a:t>Fifth level (Calibri Regular, 14)</a:t>
            </a:r>
          </a:p>
        </p:txBody>
      </p:sp>
      <p:sp>
        <p:nvSpPr>
          <p:cNvPr id="12" name="Slide Number Placeholder 10">
            <a:extLst>
              <a:ext uri="{FF2B5EF4-FFF2-40B4-BE49-F238E27FC236}">
                <a16:creationId xmlns:a16="http://schemas.microsoft.com/office/drawing/2014/main" id="{A2ED9C39-E899-4AC0-8CCE-662F985473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78178" y="6922429"/>
            <a:ext cx="453427" cy="38946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CDA41B0-E16D-48B4-8B5D-6BC89192C442}" type="slidenum">
              <a:rPr lang="en-US" smtClean="0"/>
              <a:t>‹#›</a:t>
            </a:fld>
            <a:endParaRPr lang="en-US"/>
          </a:p>
        </p:txBody>
      </p:sp>
      <p:pic>
        <p:nvPicPr>
          <p:cNvPr id="5" name="Picture 4" descr="A close up of a logo&#10;&#10;Description automatically generated">
            <a:extLst>
              <a:ext uri="{FF2B5EF4-FFF2-40B4-BE49-F238E27FC236}">
                <a16:creationId xmlns:a16="http://schemas.microsoft.com/office/drawing/2014/main" id="{8B011C96-7D91-4C37-A736-AE7340FE63A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48189" y="6517675"/>
            <a:ext cx="2978435" cy="6824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81313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15399" y="6586003"/>
            <a:ext cx="3381247" cy="442406"/>
          </a:xfrm>
          <a:prstGeom prst="rect">
            <a:avLst/>
          </a:prstGeom>
        </p:spPr>
      </p:pic>
      <p:sp>
        <p:nvSpPr>
          <p:cNvPr id="15" name="Slide Number Placeholder 10">
            <a:extLst>
              <a:ext uri="{FF2B5EF4-FFF2-40B4-BE49-F238E27FC236}">
                <a16:creationId xmlns:a16="http://schemas.microsoft.com/office/drawing/2014/main" id="{A2ED9C39-E899-4AC0-8CCE-662F985473A4}"/>
              </a:ext>
            </a:extLst>
          </p:cNvPr>
          <p:cNvSpPr txBox="1">
            <a:spLocks/>
          </p:cNvSpPr>
          <p:nvPr userDrawn="1"/>
        </p:nvSpPr>
        <p:spPr>
          <a:xfrm>
            <a:off x="261839" y="6727693"/>
            <a:ext cx="453426" cy="389467"/>
          </a:xfrm>
          <a:prstGeom prst="rect">
            <a:avLst/>
          </a:prstGeom>
        </p:spPr>
        <p:txBody>
          <a:bodyPr vert="horz" lIns="97536" tIns="48768" rIns="97536" bIns="48768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876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DA41B0-E16D-48B4-8B5D-6BC89192C442}" type="slidenum">
              <a:rPr kumimoji="0" lang="en-US" sz="1280" b="0" i="0" u="none" strike="noStrike" kern="1200" cap="none" spc="0" normalizeH="0" baseline="0" noProof="0" smtClean="0">
                <a:ln>
                  <a:noFill/>
                </a:ln>
                <a:solidFill>
                  <a:srgbClr val="33006F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76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80" b="0" i="0" u="none" strike="noStrike" kern="1200" cap="none" spc="0" normalizeH="0" baseline="0" noProof="0">
              <a:ln>
                <a:noFill/>
              </a:ln>
              <a:solidFill>
                <a:srgbClr val="33006F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715264" y="1130498"/>
            <a:ext cx="11481380" cy="571942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(ENCODE NORMAL BLACK, 30 PT.)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715264" y="1996072"/>
            <a:ext cx="11481380" cy="4323789"/>
          </a:xfrm>
          <a:prstGeom prst="rect">
            <a:avLst/>
          </a:prstGeom>
        </p:spPr>
        <p:txBody>
          <a:bodyPr/>
          <a:lstStyle>
            <a:lvl1pPr marL="365753" indent="-365753">
              <a:buFont typeface="Lucida Grande"/>
              <a:buChar char="&gt;"/>
              <a:defRPr sz="2560" b="1" i="0" baseline="0">
                <a:solidFill>
                  <a:schemeClr val="tx1"/>
                </a:solidFill>
                <a:latin typeface="Open Sans"/>
                <a:cs typeface="Open Sans"/>
              </a:defRPr>
            </a:lvl1pPr>
            <a:lvl2pPr>
              <a:defRPr sz="2133" b="1" i="0" baseline="0">
                <a:solidFill>
                  <a:schemeClr val="tx1"/>
                </a:solidFill>
                <a:latin typeface="Open Sans"/>
                <a:cs typeface="Open Sans"/>
              </a:defRPr>
            </a:lvl2pPr>
            <a:lvl3pPr marL="1219175" indent="-243836">
              <a:buSzPct val="100000"/>
              <a:buFont typeface="Lucida Grande"/>
              <a:buChar char="&gt;"/>
              <a:defRPr sz="1920" b="1" i="0" baseline="0">
                <a:solidFill>
                  <a:schemeClr val="tx1"/>
                </a:solidFill>
                <a:latin typeface="Open Sans"/>
                <a:cs typeface="Open Sans"/>
              </a:defRPr>
            </a:lvl3pPr>
            <a:lvl4pPr>
              <a:defRPr sz="1707" b="1" i="0" baseline="0">
                <a:solidFill>
                  <a:schemeClr val="tx1"/>
                </a:solidFill>
                <a:latin typeface="Open Sans"/>
                <a:cs typeface="Open Sans"/>
              </a:defRPr>
            </a:lvl4pPr>
            <a:lvl5pPr marL="2194517" indent="-243836">
              <a:buFont typeface="Lucida Grande"/>
              <a:buChar char="&gt;"/>
              <a:defRPr sz="1493" b="1" i="0" baseline="0">
                <a:solidFill>
                  <a:schemeClr val="tx1"/>
                </a:solidFill>
                <a:latin typeface="Open Sans"/>
                <a:cs typeface="Open Sans"/>
              </a:defRPr>
            </a:lvl5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 Bold, 20)</a:t>
            </a:r>
          </a:p>
          <a:p>
            <a:pPr lvl="2"/>
            <a:r>
              <a:rPr lang="en-US"/>
              <a:t>Third level (Open Sans Bold, 18)</a:t>
            </a:r>
          </a:p>
          <a:p>
            <a:pPr lvl="3"/>
            <a:r>
              <a:rPr lang="en-US"/>
              <a:t>Fourth level (Open Sans Bold, 16)</a:t>
            </a:r>
          </a:p>
          <a:p>
            <a:pPr lvl="4"/>
            <a:r>
              <a:rPr lang="en-US"/>
              <a:t>Fifth level (Open Sans Bold, 14)</a:t>
            </a: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5266" y="1797863"/>
            <a:ext cx="1177365" cy="1027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2542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15403" y="6586005"/>
            <a:ext cx="3381247" cy="442406"/>
          </a:xfrm>
          <a:prstGeom prst="rect">
            <a:avLst/>
          </a:prstGeom>
        </p:spPr>
      </p:pic>
      <p:sp>
        <p:nvSpPr>
          <p:cNvPr id="14" name="Slide Number Placeholder 10">
            <a:extLst>
              <a:ext uri="{FF2B5EF4-FFF2-40B4-BE49-F238E27FC236}">
                <a16:creationId xmlns:a16="http://schemas.microsoft.com/office/drawing/2014/main" id="{A2ED9C39-E899-4AC0-8CCE-662F985473A4}"/>
              </a:ext>
            </a:extLst>
          </p:cNvPr>
          <p:cNvSpPr txBox="1">
            <a:spLocks/>
          </p:cNvSpPr>
          <p:nvPr userDrawn="1"/>
        </p:nvSpPr>
        <p:spPr>
          <a:xfrm>
            <a:off x="261843" y="6727693"/>
            <a:ext cx="453426" cy="389467"/>
          </a:xfrm>
          <a:prstGeom prst="rect">
            <a:avLst/>
          </a:prstGeom>
        </p:spPr>
        <p:txBody>
          <a:bodyPr vert="horz" lIns="97536" tIns="48768" rIns="97536" bIns="48768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876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DA41B0-E16D-48B4-8B5D-6BC89192C442}" type="slidenum">
              <a:rPr kumimoji="0" lang="en-US" sz="1280" b="0" i="0" u="none" strike="noStrike" kern="1200" cap="none" spc="0" normalizeH="0" baseline="0" noProof="0" smtClean="0">
                <a:ln>
                  <a:noFill/>
                </a:ln>
                <a:solidFill>
                  <a:srgbClr val="33006F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76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80" b="0" i="0" u="none" strike="noStrike" kern="1200" cap="none" spc="0" normalizeH="0" baseline="0" noProof="0">
              <a:ln>
                <a:noFill/>
              </a:ln>
              <a:solidFill>
                <a:srgbClr val="33006F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15265" y="1130500"/>
            <a:ext cx="11481381" cy="571942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(ENCODE NORMAL BLACK, 30 PT.)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15264" y="1797864"/>
            <a:ext cx="1177367" cy="1027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0781513"/>
      </p:ext>
    </p:extLst>
  </p:cSld>
  <p:clrMapOvr>
    <a:masterClrMapping/>
  </p:clrMapOvr>
  <p:hf hdr="0" ftr="0" dt="0"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15403" y="6586005"/>
            <a:ext cx="3381247" cy="442406"/>
          </a:xfrm>
          <a:prstGeom prst="rect">
            <a:avLst/>
          </a:prstGeom>
        </p:spPr>
      </p:pic>
      <p:sp>
        <p:nvSpPr>
          <p:cNvPr id="15" name="Slide Number Placeholder 10">
            <a:extLst>
              <a:ext uri="{FF2B5EF4-FFF2-40B4-BE49-F238E27FC236}">
                <a16:creationId xmlns:a16="http://schemas.microsoft.com/office/drawing/2014/main" id="{A2ED9C39-E899-4AC0-8CCE-662F985473A4}"/>
              </a:ext>
            </a:extLst>
          </p:cNvPr>
          <p:cNvSpPr txBox="1">
            <a:spLocks/>
          </p:cNvSpPr>
          <p:nvPr userDrawn="1"/>
        </p:nvSpPr>
        <p:spPr>
          <a:xfrm>
            <a:off x="261843" y="6727693"/>
            <a:ext cx="453426" cy="389467"/>
          </a:xfrm>
          <a:prstGeom prst="rect">
            <a:avLst/>
          </a:prstGeom>
        </p:spPr>
        <p:txBody>
          <a:bodyPr vert="horz" lIns="97536" tIns="48768" rIns="97536" bIns="48768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876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DA41B0-E16D-48B4-8B5D-6BC89192C442}" type="slidenum">
              <a:rPr kumimoji="0" lang="en-US" sz="1280" b="0" i="0" u="none" strike="noStrike" kern="1200" cap="none" spc="0" normalizeH="0" baseline="0" noProof="0" smtClean="0">
                <a:ln>
                  <a:noFill/>
                </a:ln>
                <a:solidFill>
                  <a:srgbClr val="33006F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76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80" b="0" i="0" u="none" strike="noStrike" kern="1200" cap="none" spc="0" normalizeH="0" baseline="0" noProof="0">
              <a:ln>
                <a:noFill/>
              </a:ln>
              <a:solidFill>
                <a:srgbClr val="33006F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715265" y="1130500"/>
            <a:ext cx="11481381" cy="571942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(ENCODE NORMAL BLACK, 30 PT.)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715265" y="1996072"/>
            <a:ext cx="11481381" cy="4323789"/>
          </a:xfrm>
          <a:prstGeom prst="rect">
            <a:avLst/>
          </a:prstGeom>
        </p:spPr>
        <p:txBody>
          <a:bodyPr/>
          <a:lstStyle>
            <a:lvl1pPr marL="365727" indent="-365727">
              <a:buFont typeface="Lucida Grande"/>
              <a:buChar char="&gt;"/>
              <a:defRPr sz="2560" b="1" i="0" baseline="0">
                <a:solidFill>
                  <a:schemeClr val="tx1"/>
                </a:solidFill>
                <a:latin typeface="Open Sans"/>
                <a:cs typeface="Open Sans"/>
              </a:defRPr>
            </a:lvl1pPr>
            <a:lvl2pPr>
              <a:defRPr sz="2133" b="1" i="0" baseline="0">
                <a:solidFill>
                  <a:schemeClr val="tx1"/>
                </a:solidFill>
                <a:latin typeface="Open Sans"/>
                <a:cs typeface="Open Sans"/>
              </a:defRPr>
            </a:lvl2pPr>
            <a:lvl3pPr marL="1219090" indent="-243819">
              <a:buSzPct val="100000"/>
              <a:buFont typeface="Lucida Grande"/>
              <a:buChar char="&gt;"/>
              <a:defRPr sz="1920" b="1" i="0" baseline="0">
                <a:solidFill>
                  <a:schemeClr val="tx1"/>
                </a:solidFill>
                <a:latin typeface="Open Sans"/>
                <a:cs typeface="Open Sans"/>
              </a:defRPr>
            </a:lvl3pPr>
            <a:lvl4pPr>
              <a:defRPr sz="1707" b="1" i="0" baseline="0">
                <a:solidFill>
                  <a:schemeClr val="tx1"/>
                </a:solidFill>
                <a:latin typeface="Open Sans"/>
                <a:cs typeface="Open Sans"/>
              </a:defRPr>
            </a:lvl4pPr>
            <a:lvl5pPr marL="2194362" indent="-243819">
              <a:buFont typeface="Lucida Grande"/>
              <a:buChar char="&gt;"/>
              <a:defRPr sz="1493" b="1" i="0" baseline="0">
                <a:solidFill>
                  <a:schemeClr val="tx1"/>
                </a:solidFill>
                <a:latin typeface="Open Sans"/>
                <a:cs typeface="Open Sans"/>
              </a:defRPr>
            </a:lvl5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 Bold, 20)</a:t>
            </a:r>
          </a:p>
          <a:p>
            <a:pPr lvl="2"/>
            <a:r>
              <a:rPr lang="en-US"/>
              <a:t>Third level (Open Sans Bold, 18)</a:t>
            </a:r>
          </a:p>
          <a:p>
            <a:pPr lvl="3"/>
            <a:r>
              <a:rPr lang="en-US"/>
              <a:t>Fourth level (Open Sans Bold, 16)</a:t>
            </a:r>
          </a:p>
          <a:p>
            <a:pPr lvl="4"/>
            <a:r>
              <a:rPr lang="en-US"/>
              <a:t>Fifth level (Open Sans Bold, 14)</a:t>
            </a: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15264" y="1797864"/>
            <a:ext cx="1177367" cy="1027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5444497"/>
      </p:ext>
    </p:extLst>
  </p:cSld>
  <p:clrMapOvr>
    <a:masterClrMapping/>
  </p:clrMapOvr>
  <p:hf hdr="0" ftr="0" dt="0"/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E968516-223E-48D2-BE13-88A96C431C8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698" y="1698"/>
          <a:ext cx="1692" cy="16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24" imgH="526" progId="TCLayout.ActiveDocument.1">
                  <p:embed/>
                </p:oleObj>
              </mc:Choice>
              <mc:Fallback>
                <p:oleObj name="think-cell Slide" r:id="rId3" imgW="524" imgH="5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E968516-223E-48D2-BE13-88A96C431C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98" y="1698"/>
                        <a:ext cx="1692" cy="169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713439" y="396280"/>
            <a:ext cx="11640408" cy="47701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None/>
              <a:defRPr sz="3200" b="0" i="0" baseline="0">
                <a:solidFill>
                  <a:srgbClr val="33006F"/>
                </a:solidFill>
                <a:latin typeface="Encode Sans Normal Black" panose="02000000000000000000" pitchFamily="2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8766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328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299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654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HEADER HERE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695727" y="1100118"/>
            <a:ext cx="11656832" cy="5417556"/>
          </a:xfrm>
          <a:prstGeom prst="rect">
            <a:avLst/>
          </a:prstGeom>
        </p:spPr>
        <p:txBody>
          <a:bodyPr/>
          <a:lstStyle>
            <a:lvl1pPr marL="365749" indent="-365749">
              <a:buFont typeface="Lucida Grande"/>
              <a:buChar char="&gt;"/>
              <a:defRPr sz="2560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 sz="2133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219158" indent="-243833">
              <a:buSzPct val="100000"/>
              <a:buFont typeface="Lucida Grande"/>
              <a:buChar char="&gt;"/>
              <a:defRPr sz="1920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>
              <a:defRPr sz="1707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2194486" indent="-243833">
              <a:buFont typeface="Lucida Grande"/>
              <a:buChar char="&gt;"/>
              <a:defRPr sz="1493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US"/>
              <a:t>Bulleted content here (Calibri Regular, 24 pt.)</a:t>
            </a:r>
          </a:p>
          <a:p>
            <a:pPr lvl="1"/>
            <a:r>
              <a:rPr lang="en-US"/>
              <a:t>Second level (Calibri Regular, 20)</a:t>
            </a:r>
          </a:p>
          <a:p>
            <a:pPr lvl="2"/>
            <a:r>
              <a:rPr lang="en-US"/>
              <a:t>Third level (Calibri Regular, 18)</a:t>
            </a:r>
          </a:p>
          <a:p>
            <a:pPr lvl="3"/>
            <a:r>
              <a:rPr lang="en-US"/>
              <a:t>Fourth level (Calibri Regular, 16)</a:t>
            </a:r>
          </a:p>
          <a:p>
            <a:pPr lvl="4"/>
            <a:r>
              <a:rPr lang="en-US"/>
              <a:t>Fifth level (Calibri Regular, 14)</a:t>
            </a:r>
          </a:p>
        </p:txBody>
      </p:sp>
      <p:sp>
        <p:nvSpPr>
          <p:cNvPr id="12" name="Slide Number Placeholder 10">
            <a:extLst>
              <a:ext uri="{FF2B5EF4-FFF2-40B4-BE49-F238E27FC236}">
                <a16:creationId xmlns:a16="http://schemas.microsoft.com/office/drawing/2014/main" id="{A2ED9C39-E899-4AC0-8CCE-662F985473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78178" y="6922432"/>
            <a:ext cx="453427" cy="38946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CDA41B0-E16D-48B4-8B5D-6BC89192C442}" type="slidenum">
              <a:rPr lang="en-US" smtClean="0"/>
              <a:t>‹#›</a:t>
            </a:fld>
            <a:endParaRPr lang="en-US"/>
          </a:p>
        </p:txBody>
      </p:sp>
      <p:pic>
        <p:nvPicPr>
          <p:cNvPr id="5" name="Picture 4" descr="A close up of a logo&#10;&#10;Description automatically generated">
            <a:extLst>
              <a:ext uri="{FF2B5EF4-FFF2-40B4-BE49-F238E27FC236}">
                <a16:creationId xmlns:a16="http://schemas.microsoft.com/office/drawing/2014/main" id="{8B011C96-7D91-4C37-A736-AE7340FE63A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48189" y="6517675"/>
            <a:ext cx="2978435" cy="6824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86914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CD1D57-1885-42E8-AD6E-A5D2FE8838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5774" y="389467"/>
            <a:ext cx="11216640" cy="141393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8F02F72-3CBE-40CB-B6C4-2FFF19B4E2B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95776" y="1793242"/>
            <a:ext cx="5501639" cy="878839"/>
          </a:xfrm>
        </p:spPr>
        <p:txBody>
          <a:bodyPr anchor="b"/>
          <a:lstStyle>
            <a:lvl1pPr marL="0" indent="0">
              <a:buNone/>
              <a:defRPr sz="2560" b="1"/>
            </a:lvl1pPr>
            <a:lvl2pPr marL="487710" indent="0">
              <a:buNone/>
              <a:defRPr sz="2133" b="1"/>
            </a:lvl2pPr>
            <a:lvl3pPr marL="975420" indent="0">
              <a:buNone/>
              <a:defRPr sz="1920" b="1"/>
            </a:lvl3pPr>
            <a:lvl4pPr marL="1463132" indent="0">
              <a:buNone/>
              <a:defRPr sz="1707" b="1"/>
            </a:lvl4pPr>
            <a:lvl5pPr marL="1950842" indent="0">
              <a:buNone/>
              <a:defRPr sz="1707" b="1"/>
            </a:lvl5pPr>
            <a:lvl6pPr marL="2438552" indent="0">
              <a:buNone/>
              <a:defRPr sz="1707" b="1"/>
            </a:lvl6pPr>
            <a:lvl7pPr marL="2926262" indent="0">
              <a:buNone/>
              <a:defRPr sz="1707" b="1"/>
            </a:lvl7pPr>
            <a:lvl8pPr marL="3413973" indent="0">
              <a:buNone/>
              <a:defRPr sz="1707" b="1"/>
            </a:lvl8pPr>
            <a:lvl9pPr marL="3901684" indent="0">
              <a:buNone/>
              <a:defRPr sz="1707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EEAE362-E92A-4521-9890-2A4E781A839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95776" y="2672080"/>
            <a:ext cx="5501639" cy="393022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F2AE843-D945-4A4A-98E5-236D5BC6B95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583680" y="1793242"/>
            <a:ext cx="5528734" cy="878839"/>
          </a:xfrm>
        </p:spPr>
        <p:txBody>
          <a:bodyPr anchor="b"/>
          <a:lstStyle>
            <a:lvl1pPr marL="0" indent="0">
              <a:buNone/>
              <a:defRPr sz="2560" b="1"/>
            </a:lvl1pPr>
            <a:lvl2pPr marL="487710" indent="0">
              <a:buNone/>
              <a:defRPr sz="2133" b="1"/>
            </a:lvl2pPr>
            <a:lvl3pPr marL="975420" indent="0">
              <a:buNone/>
              <a:defRPr sz="1920" b="1"/>
            </a:lvl3pPr>
            <a:lvl4pPr marL="1463132" indent="0">
              <a:buNone/>
              <a:defRPr sz="1707" b="1"/>
            </a:lvl4pPr>
            <a:lvl5pPr marL="1950842" indent="0">
              <a:buNone/>
              <a:defRPr sz="1707" b="1"/>
            </a:lvl5pPr>
            <a:lvl6pPr marL="2438552" indent="0">
              <a:buNone/>
              <a:defRPr sz="1707" b="1"/>
            </a:lvl6pPr>
            <a:lvl7pPr marL="2926262" indent="0">
              <a:buNone/>
              <a:defRPr sz="1707" b="1"/>
            </a:lvl7pPr>
            <a:lvl8pPr marL="3413973" indent="0">
              <a:buNone/>
              <a:defRPr sz="1707" b="1"/>
            </a:lvl8pPr>
            <a:lvl9pPr marL="3901684" indent="0">
              <a:buNone/>
              <a:defRPr sz="1707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557B9B4-B7E8-4B2F-8113-D1A1F8EFD31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583680" y="2672080"/>
            <a:ext cx="5528734" cy="393022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A92B323-3F0C-45F3-82CF-5B6C7F4051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74B4FA-682C-466F-8DD2-475A9C6E93BF}" type="datetimeFigureOut">
              <a:rPr lang="en-US" smtClean="0"/>
              <a:t>4/8/20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49E76C7-B3D4-4B65-913C-D303047327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E7561F6-3F6C-489A-9216-C245E4A89C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92BA15-12B2-4472-BB2F-322630A1EDE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379499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15405" y="6586005"/>
            <a:ext cx="3381247" cy="442406"/>
          </a:xfrm>
          <a:prstGeom prst="rect">
            <a:avLst/>
          </a:prstGeom>
        </p:spPr>
      </p:pic>
      <p:sp>
        <p:nvSpPr>
          <p:cNvPr id="15" name="Slide Number Placeholder 10">
            <a:extLst>
              <a:ext uri="{FF2B5EF4-FFF2-40B4-BE49-F238E27FC236}">
                <a16:creationId xmlns:a16="http://schemas.microsoft.com/office/drawing/2014/main" id="{A2ED9C39-E899-4AC0-8CCE-662F985473A4}"/>
              </a:ext>
            </a:extLst>
          </p:cNvPr>
          <p:cNvSpPr txBox="1">
            <a:spLocks/>
          </p:cNvSpPr>
          <p:nvPr userDrawn="1"/>
        </p:nvSpPr>
        <p:spPr>
          <a:xfrm>
            <a:off x="261843" y="6727693"/>
            <a:ext cx="453426" cy="389467"/>
          </a:xfrm>
          <a:prstGeom prst="rect">
            <a:avLst/>
          </a:prstGeom>
        </p:spPr>
        <p:txBody>
          <a:bodyPr vert="horz" lIns="97536" tIns="48768" rIns="97536" bIns="48768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876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DA41B0-E16D-48B4-8B5D-6BC89192C442}" type="slidenum">
              <a:rPr kumimoji="0" lang="en-US" sz="1280" b="0" i="0" u="none" strike="noStrike" kern="1200" cap="none" spc="0" normalizeH="0" baseline="0" noProof="0" smtClean="0">
                <a:ln>
                  <a:noFill/>
                </a:ln>
                <a:solidFill>
                  <a:srgbClr val="33006F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76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80" b="0" i="0" u="none" strike="noStrike" kern="1200" cap="none" spc="0" normalizeH="0" baseline="0" noProof="0">
              <a:ln>
                <a:noFill/>
              </a:ln>
              <a:solidFill>
                <a:srgbClr val="33006F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715270" y="1130500"/>
            <a:ext cx="11481380" cy="571942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(ENCODE NORMAL BLACK, 30 PT.)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715270" y="1996072"/>
            <a:ext cx="11481380" cy="4323789"/>
          </a:xfrm>
          <a:prstGeom prst="rect">
            <a:avLst/>
          </a:prstGeom>
        </p:spPr>
        <p:txBody>
          <a:bodyPr/>
          <a:lstStyle>
            <a:lvl1pPr marL="365744" indent="-365744">
              <a:buFont typeface="Lucida Grande"/>
              <a:buChar char="&gt;"/>
              <a:defRPr sz="2560" b="1" i="0" baseline="0">
                <a:solidFill>
                  <a:schemeClr val="tx1"/>
                </a:solidFill>
                <a:latin typeface="Open Sans"/>
                <a:cs typeface="Open Sans"/>
              </a:defRPr>
            </a:lvl1pPr>
            <a:lvl2pPr>
              <a:defRPr sz="2133" b="1" i="0" baseline="0">
                <a:solidFill>
                  <a:schemeClr val="tx1"/>
                </a:solidFill>
                <a:latin typeface="Open Sans"/>
                <a:cs typeface="Open Sans"/>
              </a:defRPr>
            </a:lvl2pPr>
            <a:lvl3pPr marL="1219145" indent="-243831">
              <a:buSzPct val="100000"/>
              <a:buFont typeface="Lucida Grande"/>
              <a:buChar char="&gt;"/>
              <a:defRPr sz="1920" b="1" i="0" baseline="0">
                <a:solidFill>
                  <a:schemeClr val="tx1"/>
                </a:solidFill>
                <a:latin typeface="Open Sans"/>
                <a:cs typeface="Open Sans"/>
              </a:defRPr>
            </a:lvl3pPr>
            <a:lvl4pPr>
              <a:defRPr sz="1707" b="1" i="0" baseline="0">
                <a:solidFill>
                  <a:schemeClr val="tx1"/>
                </a:solidFill>
                <a:latin typeface="Open Sans"/>
                <a:cs typeface="Open Sans"/>
              </a:defRPr>
            </a:lvl4pPr>
            <a:lvl5pPr marL="2194463" indent="-243831">
              <a:buFont typeface="Lucida Grande"/>
              <a:buChar char="&gt;"/>
              <a:defRPr sz="1493" b="1" i="0" baseline="0">
                <a:solidFill>
                  <a:schemeClr val="tx1"/>
                </a:solidFill>
                <a:latin typeface="Open Sans"/>
                <a:cs typeface="Open Sans"/>
              </a:defRPr>
            </a:lvl5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 Bold, 20)</a:t>
            </a:r>
          </a:p>
          <a:p>
            <a:pPr lvl="2"/>
            <a:r>
              <a:rPr lang="en-US"/>
              <a:t>Third level (Open Sans Bold, 18)</a:t>
            </a:r>
          </a:p>
          <a:p>
            <a:pPr lvl="3"/>
            <a:r>
              <a:rPr lang="en-US"/>
              <a:t>Fourth level (Open Sans Bold, 16)</a:t>
            </a:r>
          </a:p>
          <a:p>
            <a:pPr lvl="4"/>
            <a:r>
              <a:rPr lang="en-US"/>
              <a:t>Fifth level (Open Sans Bold, 14)</a:t>
            </a: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5268" y="1797866"/>
            <a:ext cx="1177365" cy="1027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4518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Head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15409" y="6586005"/>
            <a:ext cx="3381247" cy="442406"/>
          </a:xfrm>
          <a:prstGeom prst="rect">
            <a:avLst/>
          </a:prstGeom>
        </p:spPr>
      </p:pic>
      <p:sp>
        <p:nvSpPr>
          <p:cNvPr id="14" name="Slide Number Placeholder 10">
            <a:extLst>
              <a:ext uri="{FF2B5EF4-FFF2-40B4-BE49-F238E27FC236}">
                <a16:creationId xmlns:a16="http://schemas.microsoft.com/office/drawing/2014/main" id="{A2ED9C39-E899-4AC0-8CCE-662F985473A4}"/>
              </a:ext>
            </a:extLst>
          </p:cNvPr>
          <p:cNvSpPr txBox="1">
            <a:spLocks/>
          </p:cNvSpPr>
          <p:nvPr userDrawn="1"/>
        </p:nvSpPr>
        <p:spPr>
          <a:xfrm>
            <a:off x="261843" y="6727693"/>
            <a:ext cx="453426" cy="389467"/>
          </a:xfrm>
          <a:prstGeom prst="rect">
            <a:avLst/>
          </a:prstGeom>
        </p:spPr>
        <p:txBody>
          <a:bodyPr vert="horz" lIns="97536" tIns="48768" rIns="97536" bIns="48768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876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DA41B0-E16D-48B4-8B5D-6BC89192C442}" type="slidenum">
              <a:rPr kumimoji="0" lang="en-US" sz="1280" b="0" i="0" u="none" strike="noStrike" kern="1200" cap="none" spc="0" normalizeH="0" baseline="0" noProof="0" smtClean="0">
                <a:ln>
                  <a:noFill/>
                </a:ln>
                <a:solidFill>
                  <a:srgbClr val="33006F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762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80" b="0" i="0" u="none" strike="noStrike" kern="1200" cap="none" spc="0" normalizeH="0" baseline="0" noProof="0">
              <a:ln>
                <a:noFill/>
              </a:ln>
              <a:solidFill>
                <a:srgbClr val="33006F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15265" y="1130500"/>
            <a:ext cx="11481381" cy="571942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(ENCODE NORMAL BLACK, 30 PT.)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15264" y="1797864"/>
            <a:ext cx="1177367" cy="1027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3922510"/>
      </p:ext>
    </p:extLst>
  </p:cSld>
  <p:clrMapOvr>
    <a:masterClrMapping/>
  </p:clrMapOvr>
  <p:hf hdr="0" ftr="0" dt="0"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15409" y="6586005"/>
            <a:ext cx="3381247" cy="442406"/>
          </a:xfrm>
          <a:prstGeom prst="rect">
            <a:avLst/>
          </a:prstGeom>
        </p:spPr>
      </p:pic>
      <p:sp>
        <p:nvSpPr>
          <p:cNvPr id="15" name="Slide Number Placeholder 10">
            <a:extLst>
              <a:ext uri="{FF2B5EF4-FFF2-40B4-BE49-F238E27FC236}">
                <a16:creationId xmlns:a16="http://schemas.microsoft.com/office/drawing/2014/main" id="{A2ED9C39-E899-4AC0-8CCE-662F985473A4}"/>
              </a:ext>
            </a:extLst>
          </p:cNvPr>
          <p:cNvSpPr txBox="1">
            <a:spLocks/>
          </p:cNvSpPr>
          <p:nvPr userDrawn="1"/>
        </p:nvSpPr>
        <p:spPr>
          <a:xfrm>
            <a:off x="261843" y="6727693"/>
            <a:ext cx="453426" cy="389467"/>
          </a:xfrm>
          <a:prstGeom prst="rect">
            <a:avLst/>
          </a:prstGeom>
        </p:spPr>
        <p:txBody>
          <a:bodyPr vert="horz" lIns="97536" tIns="48768" rIns="97536" bIns="48768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876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DA41B0-E16D-48B4-8B5D-6BC89192C442}" type="slidenum">
              <a:rPr kumimoji="0" lang="en-US" sz="1280" b="0" i="0" u="none" strike="noStrike" kern="1200" cap="none" spc="0" normalizeH="0" baseline="0" noProof="0" smtClean="0">
                <a:ln>
                  <a:noFill/>
                </a:ln>
                <a:solidFill>
                  <a:srgbClr val="33006F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762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80" b="0" i="0" u="none" strike="noStrike" kern="1200" cap="none" spc="0" normalizeH="0" baseline="0" noProof="0">
              <a:ln>
                <a:noFill/>
              </a:ln>
              <a:solidFill>
                <a:srgbClr val="33006F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715265" y="1130500"/>
            <a:ext cx="11481381" cy="571942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(ENCODE NORMAL BLACK, 30 PT.)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715265" y="1996072"/>
            <a:ext cx="11481381" cy="4323789"/>
          </a:xfrm>
          <a:prstGeom prst="rect">
            <a:avLst/>
          </a:prstGeom>
        </p:spPr>
        <p:txBody>
          <a:bodyPr/>
          <a:lstStyle>
            <a:lvl1pPr marL="365719" indent="-365719">
              <a:buFont typeface="Lucida Grande"/>
              <a:buChar char="&gt;"/>
              <a:defRPr sz="2560" b="1" i="0" baseline="0">
                <a:solidFill>
                  <a:schemeClr val="tx1"/>
                </a:solidFill>
                <a:latin typeface="Open Sans"/>
                <a:cs typeface="Open Sans"/>
              </a:defRPr>
            </a:lvl1pPr>
            <a:lvl2pPr>
              <a:defRPr sz="2133" b="1" i="0" baseline="0">
                <a:solidFill>
                  <a:schemeClr val="tx1"/>
                </a:solidFill>
                <a:latin typeface="Open Sans"/>
                <a:cs typeface="Open Sans"/>
              </a:defRPr>
            </a:lvl2pPr>
            <a:lvl3pPr marL="1219060" indent="-243813">
              <a:buSzPct val="100000"/>
              <a:buFont typeface="Lucida Grande"/>
              <a:buChar char="&gt;"/>
              <a:defRPr sz="1920" b="1" i="0" baseline="0">
                <a:solidFill>
                  <a:schemeClr val="tx1"/>
                </a:solidFill>
                <a:latin typeface="Open Sans"/>
                <a:cs typeface="Open Sans"/>
              </a:defRPr>
            </a:lvl3pPr>
            <a:lvl4pPr>
              <a:defRPr sz="1707" b="1" i="0" baseline="0">
                <a:solidFill>
                  <a:schemeClr val="tx1"/>
                </a:solidFill>
                <a:latin typeface="Open Sans"/>
                <a:cs typeface="Open Sans"/>
              </a:defRPr>
            </a:lvl4pPr>
            <a:lvl5pPr marL="2194307" indent="-243813">
              <a:buFont typeface="Lucida Grande"/>
              <a:buChar char="&gt;"/>
              <a:defRPr sz="1493" b="1" i="0" baseline="0">
                <a:solidFill>
                  <a:schemeClr val="tx1"/>
                </a:solidFill>
                <a:latin typeface="Open Sans"/>
                <a:cs typeface="Open Sans"/>
              </a:defRPr>
            </a:lvl5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 Bold, 20)</a:t>
            </a:r>
          </a:p>
          <a:p>
            <a:pPr lvl="2"/>
            <a:r>
              <a:rPr lang="en-US"/>
              <a:t>Third level (Open Sans Bold, 18)</a:t>
            </a:r>
          </a:p>
          <a:p>
            <a:pPr lvl="3"/>
            <a:r>
              <a:rPr lang="en-US"/>
              <a:t>Fourth level (Open Sans Bold, 16)</a:t>
            </a:r>
          </a:p>
          <a:p>
            <a:pPr lvl="4"/>
            <a:r>
              <a:rPr lang="en-US"/>
              <a:t>Fifth level (Open Sans Bold, 14)</a:t>
            </a: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15264" y="1797864"/>
            <a:ext cx="1177367" cy="1027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2738102"/>
      </p:ext>
    </p:extLst>
  </p:cSld>
  <p:clrMapOvr>
    <a:masterClrMapping/>
  </p:clrMapOvr>
  <p:hf hdr="0" ftr="0" dt="0"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5AB38126-ED0B-4D6F-8A6C-CA95D422F7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62839" y="6893868"/>
            <a:ext cx="2389426" cy="312636"/>
          </a:xfrm>
          <a:prstGeom prst="rect">
            <a:avLst/>
          </a:prstGeom>
          <a:effectLst/>
        </p:spPr>
      </p:pic>
      <p:sp>
        <p:nvSpPr>
          <p:cNvPr id="9" name="Slide Number Placeholder 1">
            <a:extLst>
              <a:ext uri="{FF2B5EF4-FFF2-40B4-BE49-F238E27FC236}">
                <a16:creationId xmlns:a16="http://schemas.microsoft.com/office/drawing/2014/main" id="{A11A2C48-E297-4639-AD63-04992006CF93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12132070" y="201002"/>
            <a:ext cx="520192" cy="38285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493">
                <a:solidFill>
                  <a:schemeClr val="tx1"/>
                </a:solidFill>
              </a:defRPr>
            </a:lvl1pPr>
          </a:lstStyle>
          <a:p>
            <a:fld id="{D905AD32-5431-4118-BCBF-BBD2C4DF8F2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91485687-CECD-4338-BDFE-CAE67FACFC8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4305" y="120213"/>
            <a:ext cx="7322715" cy="544431"/>
          </a:xfrm>
          <a:prstGeom prst="rect">
            <a:avLst/>
          </a:prstGeom>
        </p:spPr>
        <p:txBody>
          <a:bodyPr lIns="0" anchor="t"/>
          <a:lstStyle>
            <a:lvl1pPr algn="l">
              <a:defRPr sz="2560" b="1" i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(ENCODE NORMAL BLACK, 30 PT.)</a:t>
            </a:r>
          </a:p>
        </p:txBody>
      </p:sp>
      <p:pic>
        <p:nvPicPr>
          <p:cNvPr id="43" name="Picture 42">
            <a:extLst>
              <a:ext uri="{FF2B5EF4-FFF2-40B4-BE49-F238E27FC236}">
                <a16:creationId xmlns:a16="http://schemas.microsoft.com/office/drawing/2014/main" id="{E84D8C41-2CE7-4B18-BA68-EE5F4E7EA54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64305" y="634404"/>
            <a:ext cx="1143351" cy="998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5548948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nthly Status Slide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4305" y="120213"/>
            <a:ext cx="7322715" cy="544431"/>
          </a:xfrm>
          <a:prstGeom prst="rect">
            <a:avLst/>
          </a:prstGeom>
        </p:spPr>
        <p:txBody>
          <a:bodyPr lIns="0" anchor="t"/>
          <a:lstStyle>
            <a:lvl1pPr algn="l">
              <a:defRPr sz="2560" b="1" i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(ENCODE NORMAL BLACK, 30 PT.)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AB38126-ED0B-4D6F-8A6C-CA95D422F7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62839" y="6893868"/>
            <a:ext cx="2389426" cy="312636"/>
          </a:xfrm>
          <a:prstGeom prst="rect">
            <a:avLst/>
          </a:prstGeom>
          <a:effectLst/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0C647C3A-CCC0-4F6B-8087-9EDB8067531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64305" y="634404"/>
            <a:ext cx="1143351" cy="998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4016217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66270" y="6730163"/>
            <a:ext cx="2711863" cy="3548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4089937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lnSpc>
                <a:spcPct val="90000"/>
              </a:lnSpc>
              <a:defRPr sz="1493"/>
            </a:lvl1pPr>
            <a:lvl2pPr marL="840453" indent="-323250">
              <a:lnSpc>
                <a:spcPct val="90000"/>
              </a:lnSpc>
              <a:buFont typeface="Lucida Grande"/>
              <a:buChar char="–"/>
              <a:defRPr sz="1387"/>
            </a:lvl2pPr>
            <a:lvl3pPr>
              <a:lnSpc>
                <a:spcPct val="90000"/>
              </a:lnSpc>
              <a:defRPr sz="1387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/>
          </p:nvPr>
        </p:nvSpPr>
        <p:spPr>
          <a:xfrm>
            <a:off x="577445" y="529382"/>
            <a:ext cx="11843766" cy="450001"/>
          </a:xfrm>
        </p:spPr>
        <p:txBody>
          <a:bodyPr/>
          <a:lstStyle>
            <a:lvl1pPr marL="0" indent="0">
              <a:buNone/>
              <a:defRPr sz="154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580518" y="181230"/>
            <a:ext cx="11843766" cy="340956"/>
          </a:xfrm>
        </p:spPr>
        <p:txBody>
          <a:bodyPr/>
          <a:lstStyle>
            <a:lvl1pPr>
              <a:defRPr sz="2322">
                <a:solidFill>
                  <a:srgbClr val="0A2143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7DCD33E-C365-2044-8C4C-AAE8BB2A38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CA"/>
              <a:t>ISC - Transition to Operations </a:t>
            </a:r>
          </a:p>
        </p:txBody>
      </p:sp>
    </p:spTree>
    <p:extLst>
      <p:ext uri="{BB962C8B-B14F-4D97-AF65-F5344CB8AC3E}">
        <p14:creationId xmlns:p14="http://schemas.microsoft.com/office/powerpoint/2010/main" val="16283912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82">
          <p15:clr>
            <a:srgbClr val="F26B43"/>
          </p15:clr>
        </p15:guide>
        <p15:guide id="2" pos="4189">
          <p15:clr>
            <a:srgbClr val="F26B43"/>
          </p15:clr>
        </p15:guide>
        <p15:guide id="3" pos="8271">
          <p15:clr>
            <a:srgbClr val="F26B43"/>
          </p15:clr>
        </p15:guide>
        <p15:guide id="4" pos="4279">
          <p15:clr>
            <a:srgbClr val="F26B43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er +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9838" y="530254"/>
            <a:ext cx="11704320" cy="616030"/>
          </a:xfrm>
          <a:prstGeom prst="rect">
            <a:avLst/>
          </a:prstGeom>
        </p:spPr>
        <p:txBody>
          <a:bodyPr anchor="ctr"/>
          <a:lstStyle>
            <a:lvl1pPr algn="l">
              <a:defRPr sz="3982" b="1" i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sp>
        <p:nvSpPr>
          <p:cNvPr id="10" name="Chart Placeholder 11"/>
          <p:cNvSpPr>
            <a:spLocks noGrp="1"/>
          </p:cNvSpPr>
          <p:nvPr>
            <p:ph type="chart" sz="quarter" idx="12" hasCustomPrompt="1"/>
          </p:nvPr>
        </p:nvSpPr>
        <p:spPr>
          <a:xfrm>
            <a:off x="637048" y="1939213"/>
            <a:ext cx="11640408" cy="47255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3413" b="0" i="1" baseline="0">
                <a:solidFill>
                  <a:schemeClr val="tx1"/>
                </a:solidFill>
                <a:latin typeface="Open Sans Light"/>
                <a:cs typeface="Open Sans Light"/>
              </a:defRPr>
            </a:lvl1pPr>
          </a:lstStyle>
          <a:p>
            <a:r>
              <a:rPr lang="en-US"/>
              <a:t>Graphics can go here – </a:t>
            </a:r>
            <a:br>
              <a:rPr lang="en-US"/>
            </a:br>
            <a:r>
              <a:rPr lang="en-US"/>
              <a:t>replace this box with your image or chart</a:t>
            </a:r>
          </a:p>
        </p:txBody>
      </p:sp>
      <p:pic>
        <p:nvPicPr>
          <p:cNvPr id="7" name="Picture 6" descr="A close up of a logo&#10;&#10;Description automatically generated">
            <a:extLst>
              <a:ext uri="{FF2B5EF4-FFF2-40B4-BE49-F238E27FC236}">
                <a16:creationId xmlns:a16="http://schemas.microsoft.com/office/drawing/2014/main" id="{DA858859-3BAA-4B61-A436-5267CD5980A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59850" y="6738119"/>
            <a:ext cx="2335316" cy="303657"/>
          </a:xfrm>
          <a:prstGeom prst="rect">
            <a:avLst/>
          </a:prstGeom>
        </p:spPr>
      </p:pic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34D6F7B5-8F00-4C4C-9129-354F4A9CA98A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0" y="6924607"/>
            <a:ext cx="948267" cy="390595"/>
          </a:xfrm>
          <a:prstGeom prst="rect">
            <a:avLst/>
          </a:prstGeom>
        </p:spPr>
        <p:txBody>
          <a:bodyPr/>
          <a:lstStyle>
            <a:lvl1pPr>
              <a:defRPr sz="1707"/>
            </a:lvl1pPr>
          </a:lstStyle>
          <a:p>
            <a:fld id="{95471BDC-C822-445D-A28A-E864ABD6C12F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CBA265A-1CAA-4A31-867A-CFB64110CDE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80846" y="1232526"/>
            <a:ext cx="1569822" cy="1370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18974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937678" y="1327575"/>
            <a:ext cx="11658118" cy="5052905"/>
          </a:xfrm>
          <a:prstGeom prst="rect">
            <a:avLst/>
          </a:prstGeom>
        </p:spPr>
        <p:txBody>
          <a:bodyPr/>
          <a:lstStyle>
            <a:lvl1pPr marL="365744" indent="-365744">
              <a:buFont typeface="Lucida Grande"/>
              <a:buChar char="&gt;"/>
              <a:defRPr sz="2560" b="0" i="0" baseline="0">
                <a:solidFill>
                  <a:schemeClr val="accent4">
                    <a:lumMod val="10000"/>
                  </a:schemeClr>
                </a:solidFill>
                <a:latin typeface="Calibri Light"/>
                <a:cs typeface="Calibri Light"/>
              </a:defRPr>
            </a:lvl1pPr>
            <a:lvl2pPr>
              <a:defRPr sz="2133" b="0" i="0" baseline="0">
                <a:solidFill>
                  <a:schemeClr val="accent4">
                    <a:lumMod val="10000"/>
                  </a:schemeClr>
                </a:solidFill>
                <a:latin typeface="Calibri Light"/>
                <a:cs typeface="Calibri Light"/>
              </a:defRPr>
            </a:lvl2pPr>
            <a:lvl3pPr marL="1219150" indent="-243831">
              <a:buSzPct val="100000"/>
              <a:buFont typeface="Lucida Grande"/>
              <a:buChar char="&gt;"/>
              <a:defRPr sz="1920" b="0" i="0" baseline="0">
                <a:solidFill>
                  <a:schemeClr val="accent4">
                    <a:lumMod val="10000"/>
                  </a:schemeClr>
                </a:solidFill>
                <a:latin typeface="Calibri Light"/>
                <a:cs typeface="Calibri Light"/>
              </a:defRPr>
            </a:lvl3pPr>
            <a:lvl4pPr>
              <a:defRPr sz="1707" b="0" i="0" baseline="0">
                <a:solidFill>
                  <a:schemeClr val="accent4">
                    <a:lumMod val="10000"/>
                  </a:schemeClr>
                </a:solidFill>
                <a:latin typeface="Calibri Light"/>
                <a:cs typeface="Calibri Light"/>
              </a:defRPr>
            </a:lvl4pPr>
            <a:lvl5pPr marL="2194472" indent="-243831">
              <a:buFont typeface="Lucida Grande"/>
              <a:buChar char="&gt;"/>
              <a:defRPr sz="1493" b="0" i="0" baseline="0">
                <a:solidFill>
                  <a:schemeClr val="accent4">
                    <a:lumMod val="10000"/>
                  </a:schemeClr>
                </a:solidFill>
                <a:latin typeface="Calibri Light"/>
                <a:cs typeface="Calibri Light"/>
              </a:defRPr>
            </a:lvl5pPr>
          </a:lstStyle>
          <a:p>
            <a:pPr lvl="0"/>
            <a:r>
              <a:rPr lang="en-US"/>
              <a:t>Content here (Calibri Light, 24 pt.)</a:t>
            </a:r>
          </a:p>
          <a:p>
            <a:pPr lvl="1"/>
            <a:r>
              <a:rPr lang="en-US"/>
              <a:t>Second level (Calibri Light, 20)</a:t>
            </a:r>
          </a:p>
          <a:p>
            <a:pPr lvl="2"/>
            <a:r>
              <a:rPr lang="en-US"/>
              <a:t>Third level (Calibri Light, 18)</a:t>
            </a:r>
          </a:p>
          <a:p>
            <a:pPr lvl="3"/>
            <a:r>
              <a:rPr lang="en-US"/>
              <a:t>Fourth level (Calibri Light, 16)</a:t>
            </a:r>
          </a:p>
          <a:p>
            <a:pPr lvl="4"/>
            <a:r>
              <a:rPr lang="en-US"/>
              <a:t>Fifth level (Calibri Light, 14)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90509" y="939637"/>
            <a:ext cx="1569822" cy="102787"/>
          </a:xfrm>
          <a:prstGeom prst="rect">
            <a:avLst/>
          </a:prstGeom>
        </p:spPr>
      </p:pic>
      <p:sp>
        <p:nvSpPr>
          <p:cNvPr id="11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955388" y="396277"/>
            <a:ext cx="11640408" cy="49780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None/>
              <a:defRPr sz="3200" b="0" i="0" baseline="0">
                <a:solidFill>
                  <a:srgbClr val="33006F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87661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321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298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641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HEADER HERE (ARIAL BLACK, 30 PT.)</a:t>
            </a:r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199616" y="6780109"/>
            <a:ext cx="3034453" cy="38946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7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EB19F11-7C95-0E48-8438-1F242063E0A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472898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r_RtAngle_7502_RGB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7105" y="4273157"/>
            <a:ext cx="3248786" cy="120288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955388" y="1244932"/>
            <a:ext cx="9916160" cy="2817873"/>
          </a:xfrm>
          <a:prstGeom prst="rect">
            <a:avLst/>
          </a:prstGeom>
        </p:spPr>
        <p:txBody>
          <a:bodyPr anchor="b"/>
          <a:lstStyle>
            <a:lvl1pPr algn="l">
              <a:defRPr sz="5335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TITLE HERE</a:t>
            </a:r>
            <a:br>
              <a:rPr lang="en-US"/>
            </a:br>
            <a:r>
              <a:rPr lang="en-US"/>
              <a:t>ENCODE NORMAL</a:t>
            </a:r>
            <a:br>
              <a:rPr lang="en-US"/>
            </a:br>
            <a:r>
              <a:rPr lang="en-US"/>
              <a:t>BLACK, 50 PT. 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70085" y="6319996"/>
            <a:ext cx="4689028" cy="6135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36808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black and white photo of a building&#10;&#10;Description automatically generated">
            <a:extLst>
              <a:ext uri="{FF2B5EF4-FFF2-40B4-BE49-F238E27FC236}">
                <a16:creationId xmlns:a16="http://schemas.microsoft.com/office/drawing/2014/main" id="{EB2F8426-EDA2-431E-90A5-D5F79C865FB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5743"/>
          <a:stretch/>
        </p:blipFill>
        <p:spPr>
          <a:xfrm>
            <a:off x="0" y="0"/>
            <a:ext cx="13022990" cy="73152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24EE3DC5-1EDA-4DA5-AE86-8537D59D523A}"/>
              </a:ext>
            </a:extLst>
          </p:cNvPr>
          <p:cNvSpPr/>
          <p:nvPr userDrawn="1"/>
        </p:nvSpPr>
        <p:spPr>
          <a:xfrm>
            <a:off x="-18191" y="0"/>
            <a:ext cx="13041181" cy="7315200"/>
          </a:xfrm>
          <a:prstGeom prst="rect">
            <a:avLst/>
          </a:prstGeom>
          <a:solidFill>
            <a:schemeClr val="bg2">
              <a:alpha val="76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560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07937" y="4873173"/>
            <a:ext cx="2275840" cy="198685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54755" y="917324"/>
            <a:ext cx="9989035" cy="3757164"/>
          </a:xfrm>
          <a:prstGeom prst="rect">
            <a:avLst/>
          </a:prstGeom>
        </p:spPr>
        <p:txBody>
          <a:bodyPr anchor="b"/>
          <a:lstStyle>
            <a:lvl1pPr algn="l">
              <a:defRPr sz="7112" b="1" i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TITLE HERE</a:t>
            </a:r>
            <a:br>
              <a:rPr lang="en-US"/>
            </a:br>
            <a:r>
              <a:rPr lang="en-US"/>
              <a:t>ENCODE NORMAL</a:t>
            </a:r>
            <a:br>
              <a:rPr lang="en-US"/>
            </a:br>
            <a:r>
              <a:rPr lang="en-US"/>
              <a:t>BLACK, 50 PT. </a:t>
            </a:r>
          </a:p>
        </p:txBody>
      </p:sp>
      <p:pic>
        <p:nvPicPr>
          <p:cNvPr id="9" name="Picture 8" descr="A screenshot of a cell phone&#10;&#10;Description automatically generated">
            <a:extLst>
              <a:ext uri="{FF2B5EF4-FFF2-40B4-BE49-F238E27FC236}">
                <a16:creationId xmlns:a16="http://schemas.microsoft.com/office/drawing/2014/main" id="{EF1D9F59-496A-4944-8002-A750CA4BF2E5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389522" y="6249610"/>
            <a:ext cx="2993847" cy="7272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0655207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+ Sub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15264" y="423398"/>
            <a:ext cx="11481380" cy="571942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 dirty="0"/>
              <a:t>HEADER HERE (ENCODE NORMAL BLACK, 30 PT.)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715264" y="2430335"/>
            <a:ext cx="11481380" cy="3889525"/>
          </a:xfrm>
          <a:prstGeom prst="rect">
            <a:avLst/>
          </a:prstGeom>
        </p:spPr>
        <p:txBody>
          <a:bodyPr/>
          <a:lstStyle>
            <a:lvl1pPr marL="365782" indent="-365782">
              <a:buFont typeface="Lucida Grande"/>
              <a:buChar char="&gt;"/>
              <a:defRPr sz="2560" b="1" i="0" baseline="0">
                <a:solidFill>
                  <a:schemeClr val="tx1"/>
                </a:solidFill>
                <a:latin typeface="Open Sans"/>
                <a:cs typeface="Open Sans"/>
              </a:defRPr>
            </a:lvl1pPr>
            <a:lvl2pPr>
              <a:defRPr sz="2133" b="1" i="0" baseline="0">
                <a:solidFill>
                  <a:schemeClr val="tx1"/>
                </a:solidFill>
                <a:latin typeface="Open Sans"/>
                <a:cs typeface="Open Sans"/>
              </a:defRPr>
            </a:lvl2pPr>
            <a:lvl3pPr marL="1219277" indent="-243856">
              <a:buSzPct val="100000"/>
              <a:buFont typeface="Lucida Grande"/>
              <a:buChar char="&gt;"/>
              <a:defRPr sz="1920" b="1" i="0" baseline="0">
                <a:solidFill>
                  <a:schemeClr val="tx1"/>
                </a:solidFill>
                <a:latin typeface="Open Sans"/>
                <a:cs typeface="Open Sans"/>
              </a:defRPr>
            </a:lvl3pPr>
            <a:lvl4pPr>
              <a:defRPr sz="1707" b="1" i="0" baseline="0">
                <a:solidFill>
                  <a:schemeClr val="tx1"/>
                </a:solidFill>
                <a:latin typeface="Open Sans"/>
                <a:cs typeface="Open Sans"/>
              </a:defRPr>
            </a:lvl4pPr>
            <a:lvl5pPr marL="2194698" indent="-243856">
              <a:buFont typeface="Lucida Grande"/>
              <a:buChar char="&gt;"/>
              <a:defRPr sz="1493" b="1" i="0" baseline="0">
                <a:solidFill>
                  <a:schemeClr val="tx1"/>
                </a:solidFill>
                <a:latin typeface="Open Sans"/>
                <a:cs typeface="Open Sans"/>
              </a:defRPr>
            </a:lvl5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 Bold, 20)</a:t>
            </a:r>
          </a:p>
          <a:p>
            <a:pPr lvl="2"/>
            <a:r>
              <a:rPr lang="en-US"/>
              <a:t>Third level (Open Sans Bold, 18)</a:t>
            </a:r>
          </a:p>
          <a:p>
            <a:pPr lvl="3"/>
            <a:r>
              <a:rPr lang="en-US"/>
              <a:t>Fourth level (Open Sans Bold, 16)</a:t>
            </a:r>
          </a:p>
          <a:p>
            <a:pPr lvl="4"/>
            <a:r>
              <a:rPr lang="en-US"/>
              <a:t>Fifth level (Open Sans Bold, 14)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15264" y="2022502"/>
            <a:ext cx="11481380" cy="28598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1493" b="0" i="0" baseline="0">
                <a:solidFill>
                  <a:schemeClr val="accent4">
                    <a:lumMod val="50000"/>
                  </a:schemeClr>
                </a:solidFill>
                <a:latin typeface="Uni Sans Book" panose="00000500000000000000" pitchFamily="50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8771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42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313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84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, 14 PT.)</a:t>
            </a:r>
          </a:p>
        </p:txBody>
      </p:sp>
      <p:sp>
        <p:nvSpPr>
          <p:cNvPr id="17" name="Slide Number Placeholder 10">
            <a:extLst>
              <a:ext uri="{FF2B5EF4-FFF2-40B4-BE49-F238E27FC236}">
                <a16:creationId xmlns:a16="http://schemas.microsoft.com/office/drawing/2014/main" id="{A2ED9C39-E899-4AC0-8CCE-662F985473A4}"/>
              </a:ext>
            </a:extLst>
          </p:cNvPr>
          <p:cNvSpPr txBox="1">
            <a:spLocks/>
          </p:cNvSpPr>
          <p:nvPr userDrawn="1"/>
        </p:nvSpPr>
        <p:spPr>
          <a:xfrm>
            <a:off x="261838" y="6727693"/>
            <a:ext cx="453426" cy="389467"/>
          </a:xfrm>
          <a:prstGeom prst="rect">
            <a:avLst/>
          </a:prstGeom>
        </p:spPr>
        <p:txBody>
          <a:bodyPr vert="horz" lIns="97536" tIns="48768" rIns="97536" bIns="48768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877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DA41B0-E16D-48B4-8B5D-6BC89192C442}" type="slidenum">
              <a:rPr kumimoji="0" lang="en-US" sz="1280" b="0" i="0" u="none" strike="noStrike" kern="1200" cap="none" spc="0" normalizeH="0" baseline="0" noProof="0" smtClean="0">
                <a:ln>
                  <a:noFill/>
                </a:ln>
                <a:solidFill>
                  <a:srgbClr val="33006F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77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80" b="0" i="0" u="none" strike="noStrike" kern="1200" cap="none" spc="0" normalizeH="0" baseline="0" noProof="0" dirty="0">
              <a:ln>
                <a:noFill/>
              </a:ln>
              <a:solidFill>
                <a:srgbClr val="33006F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15265" y="1096470"/>
            <a:ext cx="1177366" cy="102786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15399" y="6586002"/>
            <a:ext cx="3381247" cy="4424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0611710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15399" y="6586002"/>
            <a:ext cx="3381247" cy="442406"/>
          </a:xfrm>
          <a:prstGeom prst="rect">
            <a:avLst/>
          </a:prstGeom>
        </p:spPr>
      </p:pic>
      <p:sp>
        <p:nvSpPr>
          <p:cNvPr id="15" name="Slide Number Placeholder 10">
            <a:extLst>
              <a:ext uri="{FF2B5EF4-FFF2-40B4-BE49-F238E27FC236}">
                <a16:creationId xmlns:a16="http://schemas.microsoft.com/office/drawing/2014/main" id="{A2ED9C39-E899-4AC0-8CCE-662F985473A4}"/>
              </a:ext>
            </a:extLst>
          </p:cNvPr>
          <p:cNvSpPr txBox="1">
            <a:spLocks/>
          </p:cNvSpPr>
          <p:nvPr userDrawn="1"/>
        </p:nvSpPr>
        <p:spPr>
          <a:xfrm>
            <a:off x="261838" y="6727693"/>
            <a:ext cx="453426" cy="389467"/>
          </a:xfrm>
          <a:prstGeom prst="rect">
            <a:avLst/>
          </a:prstGeom>
        </p:spPr>
        <p:txBody>
          <a:bodyPr vert="horz" lIns="97536" tIns="48768" rIns="97536" bIns="48768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877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DA41B0-E16D-48B4-8B5D-6BC89192C442}" type="slidenum">
              <a:rPr kumimoji="0" lang="en-US" sz="1280" b="0" i="0" u="none" strike="noStrike" kern="1200" cap="none" spc="0" normalizeH="0" baseline="0" noProof="0" smtClean="0">
                <a:ln>
                  <a:noFill/>
                </a:ln>
                <a:solidFill>
                  <a:srgbClr val="33006F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77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80" b="0" i="0" u="none" strike="noStrike" kern="1200" cap="none" spc="0" normalizeH="0" baseline="0" noProof="0" dirty="0">
              <a:ln>
                <a:noFill/>
              </a:ln>
              <a:solidFill>
                <a:srgbClr val="33006F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715264" y="474018"/>
            <a:ext cx="11481380" cy="571942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(ENCODE NORMAL BLACK, 30 PT.)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715264" y="1996071"/>
            <a:ext cx="11481380" cy="4323789"/>
          </a:xfrm>
          <a:prstGeom prst="rect">
            <a:avLst/>
          </a:prstGeom>
        </p:spPr>
        <p:txBody>
          <a:bodyPr/>
          <a:lstStyle>
            <a:lvl1pPr marL="365782" indent="-365782">
              <a:buFont typeface="Lucida Grande"/>
              <a:buChar char="&gt;"/>
              <a:defRPr sz="2560" b="1" i="0" baseline="0">
                <a:solidFill>
                  <a:schemeClr val="tx1"/>
                </a:solidFill>
                <a:latin typeface="Open Sans"/>
                <a:cs typeface="Open Sans"/>
              </a:defRPr>
            </a:lvl1pPr>
            <a:lvl2pPr>
              <a:defRPr sz="2133" b="1" i="0" baseline="0">
                <a:solidFill>
                  <a:schemeClr val="tx1"/>
                </a:solidFill>
                <a:latin typeface="Open Sans"/>
                <a:cs typeface="Open Sans"/>
              </a:defRPr>
            </a:lvl2pPr>
            <a:lvl3pPr marL="1219277" indent="-243856">
              <a:buSzPct val="100000"/>
              <a:buFont typeface="Lucida Grande"/>
              <a:buChar char="&gt;"/>
              <a:defRPr sz="1920" b="1" i="0" baseline="0">
                <a:solidFill>
                  <a:schemeClr val="tx1"/>
                </a:solidFill>
                <a:latin typeface="Open Sans"/>
                <a:cs typeface="Open Sans"/>
              </a:defRPr>
            </a:lvl3pPr>
            <a:lvl4pPr>
              <a:defRPr sz="1707" b="1" i="0" baseline="0">
                <a:solidFill>
                  <a:schemeClr val="tx1"/>
                </a:solidFill>
                <a:latin typeface="Open Sans"/>
                <a:cs typeface="Open Sans"/>
              </a:defRPr>
            </a:lvl4pPr>
            <a:lvl5pPr marL="2194698" indent="-243856">
              <a:buFont typeface="Lucida Grande"/>
              <a:buChar char="&gt;"/>
              <a:defRPr sz="1493" b="1" i="0" baseline="0">
                <a:solidFill>
                  <a:schemeClr val="tx1"/>
                </a:solidFill>
                <a:latin typeface="Open Sans"/>
                <a:cs typeface="Open Sans"/>
              </a:defRPr>
            </a:lvl5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 Bold, 20)</a:t>
            </a:r>
          </a:p>
          <a:p>
            <a:pPr lvl="2"/>
            <a:r>
              <a:rPr lang="en-US"/>
              <a:t>Third level (Open Sans Bold, 18)</a:t>
            </a:r>
          </a:p>
          <a:p>
            <a:pPr lvl="3"/>
            <a:r>
              <a:rPr lang="en-US"/>
              <a:t>Fourth level (Open Sans Bold, 16)</a:t>
            </a:r>
          </a:p>
          <a:p>
            <a:pPr lvl="4"/>
            <a:r>
              <a:rPr lang="en-US"/>
              <a:t>Fifth level (Open Sans Bold, 14)</a:t>
            </a: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15265" y="1147090"/>
            <a:ext cx="1177366" cy="1027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0307224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15399" y="6586002"/>
            <a:ext cx="3381247" cy="442406"/>
          </a:xfrm>
          <a:prstGeom prst="rect">
            <a:avLst/>
          </a:prstGeom>
        </p:spPr>
      </p:pic>
      <p:sp>
        <p:nvSpPr>
          <p:cNvPr id="14" name="Slide Number Placeholder 10">
            <a:extLst>
              <a:ext uri="{FF2B5EF4-FFF2-40B4-BE49-F238E27FC236}">
                <a16:creationId xmlns:a16="http://schemas.microsoft.com/office/drawing/2014/main" id="{A2ED9C39-E899-4AC0-8CCE-662F985473A4}"/>
              </a:ext>
            </a:extLst>
          </p:cNvPr>
          <p:cNvSpPr txBox="1">
            <a:spLocks/>
          </p:cNvSpPr>
          <p:nvPr userDrawn="1"/>
        </p:nvSpPr>
        <p:spPr>
          <a:xfrm>
            <a:off x="261838" y="6727693"/>
            <a:ext cx="453426" cy="389467"/>
          </a:xfrm>
          <a:prstGeom prst="rect">
            <a:avLst/>
          </a:prstGeom>
        </p:spPr>
        <p:txBody>
          <a:bodyPr vert="horz" lIns="97536" tIns="48768" rIns="97536" bIns="48768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877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DA41B0-E16D-48B4-8B5D-6BC89192C442}" type="slidenum">
              <a:rPr kumimoji="0" lang="en-US" sz="1280" b="0" i="0" u="none" strike="noStrike" kern="1200" cap="none" spc="0" normalizeH="0" baseline="0" noProof="0" smtClean="0">
                <a:ln>
                  <a:noFill/>
                </a:ln>
                <a:solidFill>
                  <a:srgbClr val="33006F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77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80" b="0" i="0" u="none" strike="noStrike" kern="1200" cap="none" spc="0" normalizeH="0" baseline="0" noProof="0" dirty="0">
              <a:ln>
                <a:noFill/>
              </a:ln>
              <a:solidFill>
                <a:srgbClr val="33006F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15264" y="511065"/>
            <a:ext cx="11481380" cy="571942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(ENCODE NORMAL BLACK, 30 PT.)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15265" y="1083007"/>
            <a:ext cx="1177366" cy="1027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6147563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Only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10">
            <a:extLst>
              <a:ext uri="{FF2B5EF4-FFF2-40B4-BE49-F238E27FC236}">
                <a16:creationId xmlns:a16="http://schemas.microsoft.com/office/drawing/2014/main" id="{A2ED9C39-E899-4AC0-8CCE-662F985473A4}"/>
              </a:ext>
            </a:extLst>
          </p:cNvPr>
          <p:cNvSpPr txBox="1">
            <a:spLocks/>
          </p:cNvSpPr>
          <p:nvPr userDrawn="1"/>
        </p:nvSpPr>
        <p:spPr>
          <a:xfrm>
            <a:off x="261838" y="6727693"/>
            <a:ext cx="453426" cy="389467"/>
          </a:xfrm>
          <a:prstGeom prst="rect">
            <a:avLst/>
          </a:prstGeom>
        </p:spPr>
        <p:txBody>
          <a:bodyPr vert="horz" lIns="97536" tIns="48768" rIns="97536" bIns="48768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877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DA41B0-E16D-48B4-8B5D-6BC89192C442}" type="slidenum">
              <a:rPr kumimoji="0" lang="en-US" sz="1280" b="0" i="0" u="none" strike="noStrike" kern="1200" cap="none" spc="0" normalizeH="0" baseline="0" noProof="0" smtClean="0">
                <a:ln>
                  <a:noFill/>
                </a:ln>
                <a:solidFill>
                  <a:srgbClr val="33006F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77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80" b="0" i="0" u="none" strike="noStrike" kern="1200" cap="none" spc="0" normalizeH="0" baseline="0" noProof="0" dirty="0">
              <a:ln>
                <a:noFill/>
              </a:ln>
              <a:solidFill>
                <a:srgbClr val="33006F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715264" y="117980"/>
            <a:ext cx="11481380" cy="571942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(ENCODE NORMAL BLACK, 30 PT.)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15266" y="785345"/>
            <a:ext cx="1177366" cy="1027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0582546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Header + Sub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Wordmark_center_Purple_HEX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76846" y="6919954"/>
            <a:ext cx="3449309" cy="174266"/>
          </a:xfrm>
          <a:prstGeom prst="rect">
            <a:avLst/>
          </a:prstGeom>
        </p:spPr>
      </p:pic>
      <p:pic>
        <p:nvPicPr>
          <p:cNvPr id="8" name="Picture 7" descr="Bar_RtAngle_7502_RGB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5342" y="998875"/>
            <a:ext cx="1931639" cy="7152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55388" y="384842"/>
            <a:ext cx="11640410" cy="571942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(ENCODE NORMAL BLACK, 30 PT.)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937681" y="1525400"/>
            <a:ext cx="11658117" cy="5252450"/>
          </a:xfrm>
          <a:prstGeom prst="rect">
            <a:avLst/>
          </a:prstGeom>
        </p:spPr>
        <p:txBody>
          <a:bodyPr/>
          <a:lstStyle>
            <a:lvl1pPr marL="365782" indent="-365782">
              <a:buFont typeface="Lucida Grande"/>
              <a:buChar char="&gt;"/>
              <a:defRPr sz="2560" b="1" i="0" baseline="0">
                <a:solidFill>
                  <a:schemeClr val="tx1"/>
                </a:solidFill>
                <a:latin typeface="Open Sans"/>
                <a:cs typeface="Open Sans"/>
              </a:defRPr>
            </a:lvl1pPr>
            <a:lvl2pPr>
              <a:defRPr sz="2133" b="1" i="0" baseline="0">
                <a:solidFill>
                  <a:schemeClr val="tx1"/>
                </a:solidFill>
                <a:latin typeface="Open Sans"/>
                <a:cs typeface="Open Sans"/>
              </a:defRPr>
            </a:lvl2pPr>
            <a:lvl3pPr marL="1219277" indent="-243856">
              <a:buSzPct val="100000"/>
              <a:buFont typeface="Lucida Grande"/>
              <a:buChar char="&gt;"/>
              <a:defRPr sz="1920" b="1" i="0" baseline="0">
                <a:solidFill>
                  <a:schemeClr val="tx1"/>
                </a:solidFill>
                <a:latin typeface="Open Sans"/>
                <a:cs typeface="Open Sans"/>
              </a:defRPr>
            </a:lvl3pPr>
            <a:lvl4pPr>
              <a:defRPr sz="1707" b="1" i="0" baseline="0">
                <a:solidFill>
                  <a:schemeClr val="tx1"/>
                </a:solidFill>
                <a:latin typeface="Open Sans"/>
                <a:cs typeface="Open Sans"/>
              </a:defRPr>
            </a:lvl4pPr>
            <a:lvl5pPr marL="2194698" indent="-243856">
              <a:buFont typeface="Lucida Grande"/>
              <a:buChar char="&gt;"/>
              <a:defRPr sz="1493" b="1" i="0" baseline="0">
                <a:solidFill>
                  <a:schemeClr val="tx1"/>
                </a:solidFill>
                <a:latin typeface="Open Sans"/>
                <a:cs typeface="Open Sans"/>
              </a:defRPr>
            </a:lvl5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 Bold, 20)</a:t>
            </a:r>
          </a:p>
          <a:p>
            <a:pPr lvl="2"/>
            <a:r>
              <a:rPr lang="en-US"/>
              <a:t>Third level (Open Sans Bold, 18)</a:t>
            </a:r>
          </a:p>
          <a:p>
            <a:pPr lvl="3"/>
            <a:r>
              <a:rPr lang="en-US"/>
              <a:t>Fourth level (Open Sans Bold, 16)</a:t>
            </a:r>
          </a:p>
          <a:p>
            <a:pPr lvl="4"/>
            <a:r>
              <a:rPr lang="en-US"/>
              <a:t>Fifth level (Open Sans Bold, 14)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955389" y="1098103"/>
            <a:ext cx="11640409" cy="28598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1493" b="0" i="0" baseline="0">
                <a:solidFill>
                  <a:schemeClr val="accent4">
                    <a:lumMod val="50000"/>
                  </a:schemeClr>
                </a:solidFill>
                <a:latin typeface="Uni Sans Book" panose="00000500000000000000" pitchFamily="50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8771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42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313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84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OPEN SANS, 14 PT.)</a:t>
            </a:r>
          </a:p>
        </p:txBody>
      </p:sp>
      <p:sp>
        <p:nvSpPr>
          <p:cNvPr id="17" name="Slide Number Placeholder 10">
            <a:extLst>
              <a:ext uri="{FF2B5EF4-FFF2-40B4-BE49-F238E27FC236}">
                <a16:creationId xmlns:a16="http://schemas.microsoft.com/office/drawing/2014/main" id="{A2ED9C39-E899-4AC0-8CCE-662F985473A4}"/>
              </a:ext>
            </a:extLst>
          </p:cNvPr>
          <p:cNvSpPr txBox="1">
            <a:spLocks/>
          </p:cNvSpPr>
          <p:nvPr userDrawn="1"/>
        </p:nvSpPr>
        <p:spPr>
          <a:xfrm>
            <a:off x="178179" y="6922427"/>
            <a:ext cx="453426" cy="389467"/>
          </a:xfrm>
          <a:prstGeom prst="rect">
            <a:avLst/>
          </a:prstGeom>
        </p:spPr>
        <p:txBody>
          <a:bodyPr vert="horz" lIns="97536" tIns="48768" rIns="97536" bIns="48768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877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DA41B0-E16D-48B4-8B5D-6BC89192C442}" type="slidenum">
              <a:rPr kumimoji="0" lang="en-US" sz="1280" b="0" i="0" u="none" strike="noStrike" kern="1200" cap="none" spc="0" normalizeH="0" baseline="0" noProof="0" smtClean="0">
                <a:ln>
                  <a:noFill/>
                </a:ln>
                <a:solidFill>
                  <a:srgbClr val="33006F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77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80" b="0" i="0" u="none" strike="noStrike" kern="1200" cap="none" spc="0" normalizeH="0" baseline="0" noProof="0" dirty="0">
              <a:ln>
                <a:noFill/>
              </a:ln>
              <a:solidFill>
                <a:srgbClr val="33006F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57044900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CD1D57-1885-42E8-AD6E-A5D2FE8838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5774" y="389467"/>
            <a:ext cx="11216640" cy="141393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8F02F72-3CBE-40CB-B6C4-2FFF19B4E2B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95776" y="1793242"/>
            <a:ext cx="5501639" cy="878839"/>
          </a:xfrm>
        </p:spPr>
        <p:txBody>
          <a:bodyPr anchor="b"/>
          <a:lstStyle>
            <a:lvl1pPr marL="0" indent="0">
              <a:buNone/>
              <a:defRPr sz="2560" b="1"/>
            </a:lvl1pPr>
            <a:lvl2pPr marL="487710" indent="0">
              <a:buNone/>
              <a:defRPr sz="2133" b="1"/>
            </a:lvl2pPr>
            <a:lvl3pPr marL="975420" indent="0">
              <a:buNone/>
              <a:defRPr sz="1920" b="1"/>
            </a:lvl3pPr>
            <a:lvl4pPr marL="1463132" indent="0">
              <a:buNone/>
              <a:defRPr sz="1707" b="1"/>
            </a:lvl4pPr>
            <a:lvl5pPr marL="1950842" indent="0">
              <a:buNone/>
              <a:defRPr sz="1707" b="1"/>
            </a:lvl5pPr>
            <a:lvl6pPr marL="2438552" indent="0">
              <a:buNone/>
              <a:defRPr sz="1707" b="1"/>
            </a:lvl6pPr>
            <a:lvl7pPr marL="2926262" indent="0">
              <a:buNone/>
              <a:defRPr sz="1707" b="1"/>
            </a:lvl7pPr>
            <a:lvl8pPr marL="3413973" indent="0">
              <a:buNone/>
              <a:defRPr sz="1707" b="1"/>
            </a:lvl8pPr>
            <a:lvl9pPr marL="3901684" indent="0">
              <a:buNone/>
              <a:defRPr sz="1707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EEAE362-E92A-4521-9890-2A4E781A839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95776" y="2672080"/>
            <a:ext cx="5501639" cy="393022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F2AE843-D945-4A4A-98E5-236D5BC6B95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583680" y="1793242"/>
            <a:ext cx="5528734" cy="878839"/>
          </a:xfrm>
        </p:spPr>
        <p:txBody>
          <a:bodyPr anchor="b"/>
          <a:lstStyle>
            <a:lvl1pPr marL="0" indent="0">
              <a:buNone/>
              <a:defRPr sz="2560" b="1"/>
            </a:lvl1pPr>
            <a:lvl2pPr marL="487710" indent="0">
              <a:buNone/>
              <a:defRPr sz="2133" b="1"/>
            </a:lvl2pPr>
            <a:lvl3pPr marL="975420" indent="0">
              <a:buNone/>
              <a:defRPr sz="1920" b="1"/>
            </a:lvl3pPr>
            <a:lvl4pPr marL="1463132" indent="0">
              <a:buNone/>
              <a:defRPr sz="1707" b="1"/>
            </a:lvl4pPr>
            <a:lvl5pPr marL="1950842" indent="0">
              <a:buNone/>
              <a:defRPr sz="1707" b="1"/>
            </a:lvl5pPr>
            <a:lvl6pPr marL="2438552" indent="0">
              <a:buNone/>
              <a:defRPr sz="1707" b="1"/>
            </a:lvl6pPr>
            <a:lvl7pPr marL="2926262" indent="0">
              <a:buNone/>
              <a:defRPr sz="1707" b="1"/>
            </a:lvl7pPr>
            <a:lvl8pPr marL="3413973" indent="0">
              <a:buNone/>
              <a:defRPr sz="1707" b="1"/>
            </a:lvl8pPr>
            <a:lvl9pPr marL="3901684" indent="0">
              <a:buNone/>
              <a:defRPr sz="1707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557B9B4-B7E8-4B2F-8113-D1A1F8EFD31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583680" y="2672080"/>
            <a:ext cx="5528734" cy="393022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A92B323-3F0C-45F3-82CF-5B6C7F4051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74B4FA-682C-466F-8DD2-475A9C6E93BF}" type="datetimeFigureOut">
              <a:rPr lang="en-US" smtClean="0"/>
              <a:t>4/8/20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49E76C7-B3D4-4B65-913C-D303047327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E7561F6-3F6C-489A-9216-C245E4A89C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92BA15-12B2-4472-BB2F-322630A1EDE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7609798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15399" y="6586002"/>
            <a:ext cx="3381247" cy="442406"/>
          </a:xfrm>
          <a:prstGeom prst="rect">
            <a:avLst/>
          </a:prstGeom>
        </p:spPr>
      </p:pic>
      <p:sp>
        <p:nvSpPr>
          <p:cNvPr id="15" name="Slide Number Placeholder 10">
            <a:extLst>
              <a:ext uri="{FF2B5EF4-FFF2-40B4-BE49-F238E27FC236}">
                <a16:creationId xmlns:a16="http://schemas.microsoft.com/office/drawing/2014/main" id="{A2ED9C39-E899-4AC0-8CCE-662F985473A4}"/>
              </a:ext>
            </a:extLst>
          </p:cNvPr>
          <p:cNvSpPr txBox="1">
            <a:spLocks/>
          </p:cNvSpPr>
          <p:nvPr userDrawn="1"/>
        </p:nvSpPr>
        <p:spPr>
          <a:xfrm>
            <a:off x="261838" y="6727693"/>
            <a:ext cx="453426" cy="389467"/>
          </a:xfrm>
          <a:prstGeom prst="rect">
            <a:avLst/>
          </a:prstGeom>
        </p:spPr>
        <p:txBody>
          <a:bodyPr vert="horz" lIns="97536" tIns="48768" rIns="97536" bIns="48768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877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DA41B0-E16D-48B4-8B5D-6BC89192C442}" type="slidenum">
              <a:rPr kumimoji="0" lang="en-US" sz="1280" b="0" i="0" u="none" strike="noStrike" kern="1200" cap="none" spc="0" normalizeH="0" baseline="0" noProof="0" smtClean="0">
                <a:ln>
                  <a:noFill/>
                </a:ln>
                <a:solidFill>
                  <a:srgbClr val="33006F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77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80" b="0" i="0" u="none" strike="noStrike" kern="1200" cap="none" spc="0" normalizeH="0" baseline="0" noProof="0" dirty="0">
              <a:ln>
                <a:noFill/>
              </a:ln>
              <a:solidFill>
                <a:srgbClr val="33006F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715264" y="238828"/>
            <a:ext cx="11481380" cy="571942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 dirty="0"/>
              <a:t>HEADER HERE (ENCODE NORMAL BLACK, 30 PT.)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715264" y="1996071"/>
            <a:ext cx="11481380" cy="4323789"/>
          </a:xfrm>
          <a:prstGeom prst="rect">
            <a:avLst/>
          </a:prstGeom>
        </p:spPr>
        <p:txBody>
          <a:bodyPr/>
          <a:lstStyle>
            <a:lvl1pPr marL="365782" indent="-365782">
              <a:buFont typeface="Lucida Grande"/>
              <a:buChar char="&gt;"/>
              <a:defRPr sz="2560" b="1" i="0" baseline="0">
                <a:solidFill>
                  <a:schemeClr val="tx1"/>
                </a:solidFill>
                <a:latin typeface="Open Sans"/>
                <a:cs typeface="Open Sans"/>
              </a:defRPr>
            </a:lvl1pPr>
            <a:lvl2pPr>
              <a:defRPr sz="2133" b="1" i="0" baseline="0">
                <a:solidFill>
                  <a:schemeClr val="tx1"/>
                </a:solidFill>
                <a:latin typeface="Open Sans"/>
                <a:cs typeface="Open Sans"/>
              </a:defRPr>
            </a:lvl2pPr>
            <a:lvl3pPr marL="1219277" indent="-243856">
              <a:buSzPct val="100000"/>
              <a:buFont typeface="Lucida Grande"/>
              <a:buChar char="&gt;"/>
              <a:defRPr sz="1920" b="1" i="0" baseline="0">
                <a:solidFill>
                  <a:schemeClr val="tx1"/>
                </a:solidFill>
                <a:latin typeface="Open Sans"/>
                <a:cs typeface="Open Sans"/>
              </a:defRPr>
            </a:lvl3pPr>
            <a:lvl4pPr>
              <a:defRPr sz="1707" b="1" i="0" baseline="0">
                <a:solidFill>
                  <a:schemeClr val="tx1"/>
                </a:solidFill>
                <a:latin typeface="Open Sans"/>
                <a:cs typeface="Open Sans"/>
              </a:defRPr>
            </a:lvl4pPr>
            <a:lvl5pPr marL="2194698" indent="-243856">
              <a:buFont typeface="Lucida Grande"/>
              <a:buChar char="&gt;"/>
              <a:defRPr sz="1493" b="1" i="0" baseline="0">
                <a:solidFill>
                  <a:schemeClr val="tx1"/>
                </a:solidFill>
                <a:latin typeface="Open Sans"/>
                <a:cs typeface="Open Sans"/>
              </a:defRPr>
            </a:lvl5pPr>
          </a:lstStyle>
          <a:p>
            <a:pPr lvl="0"/>
            <a:r>
              <a:rPr lang="en-US" dirty="0"/>
              <a:t>Content here (Open Sans Bold, 24 pt.)</a:t>
            </a:r>
          </a:p>
          <a:p>
            <a:pPr lvl="1"/>
            <a:r>
              <a:rPr lang="en-US" dirty="0"/>
              <a:t>Second level (Open Sans Bold, 20)</a:t>
            </a:r>
          </a:p>
          <a:p>
            <a:pPr lvl="2"/>
            <a:r>
              <a:rPr lang="en-US" dirty="0"/>
              <a:t>Third level (Open Sans Bold, 18)</a:t>
            </a:r>
          </a:p>
          <a:p>
            <a:pPr lvl="3"/>
            <a:r>
              <a:rPr lang="en-US" dirty="0"/>
              <a:t>Fourth level (Open Sans Bold, 16)</a:t>
            </a:r>
          </a:p>
          <a:p>
            <a:pPr lvl="4"/>
            <a:r>
              <a:rPr lang="en-US" dirty="0"/>
              <a:t>Fifth level (Open Sans Bold, 14)</a:t>
            </a: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15265" y="963293"/>
            <a:ext cx="1177366" cy="1027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0599999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Subhead &amp; Breadcrum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5360" y="741274"/>
            <a:ext cx="11054080" cy="633984"/>
          </a:xfrm>
        </p:spPr>
        <p:txBody>
          <a:bodyPr vert="horz" lIns="0" tIns="45720" rIns="0" bIns="0" rtlCol="0" anchor="b" anchorCtr="0">
            <a:noAutofit/>
          </a:bodyPr>
          <a:lstStyle>
            <a:lvl1pPr>
              <a:defRPr lang="en-US" sz="3840" spc="-80" dirty="0">
                <a:latin typeface="+mj-lt"/>
              </a:defRPr>
            </a:lvl1pPr>
          </a:lstStyle>
          <a:p>
            <a:pPr lvl="0" defTabSz="731543">
              <a:lnSpc>
                <a:spcPct val="85000"/>
              </a:lnSpc>
            </a:pPr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975702" y="1443533"/>
            <a:ext cx="11053739" cy="507187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280"/>
            </a:lvl1pPr>
          </a:lstStyle>
          <a:p>
            <a:pPr marL="243848" lvl="0" indent="-243848">
              <a:lnSpc>
                <a:spcPct val="130000"/>
              </a:lnSpc>
            </a:pPr>
            <a:r>
              <a:rPr lang="en-US"/>
              <a:t>Edit Master text styles</a:t>
            </a:r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975969" y="497433"/>
            <a:ext cx="3579571" cy="216747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960" b="1" kern="0" cap="all" spc="267" baseline="0" dirty="0">
                <a:solidFill>
                  <a:schemeClr val="accent5">
                    <a:lumMod val="60000"/>
                    <a:lumOff val="40000"/>
                  </a:schemeClr>
                </a:solidFill>
                <a:ea typeface="Nexa Black" charset="0"/>
                <a:cs typeface="Nexa Black" charset="0"/>
              </a:defRPr>
            </a:lvl1pPr>
          </a:lstStyle>
          <a:p>
            <a:pPr marL="243848" lvl="0" indent="-243848"/>
            <a:r>
              <a:rPr lang="en-US" dirty="0"/>
              <a:t>BREADCRUMBS</a:t>
            </a:r>
          </a:p>
        </p:txBody>
      </p:sp>
    </p:spTree>
    <p:extLst>
      <p:ext uri="{BB962C8B-B14F-4D97-AF65-F5344CB8AC3E}">
        <p14:creationId xmlns:p14="http://schemas.microsoft.com/office/powerpoint/2010/main" val="2474595640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r_RtAngle_7502_RGB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7104" y="4273157"/>
            <a:ext cx="3248786" cy="120288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955388" y="1244932"/>
            <a:ext cx="9916160" cy="2817873"/>
          </a:xfrm>
          <a:prstGeom prst="rect">
            <a:avLst/>
          </a:prstGeom>
        </p:spPr>
        <p:txBody>
          <a:bodyPr anchor="b"/>
          <a:lstStyle>
            <a:lvl1pPr algn="l">
              <a:defRPr sz="5334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 dirty="0"/>
              <a:t>TITLE HERE</a:t>
            </a:r>
            <a:br>
              <a:rPr lang="en-US" dirty="0"/>
            </a:br>
            <a:r>
              <a:rPr lang="en-US" dirty="0"/>
              <a:t>ENCODE NORMAL</a:t>
            </a:r>
            <a:br>
              <a:rPr lang="en-US" dirty="0"/>
            </a:br>
            <a:r>
              <a:rPr lang="en-US" dirty="0"/>
              <a:t>BLACK, 50 PT. 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70085" y="6319996"/>
            <a:ext cx="4689028" cy="6135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1191444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er + Sub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15264" y="1130497"/>
            <a:ext cx="11481380" cy="571942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 dirty="0"/>
              <a:t>HEADER HERE (ENCODE NORMAL BLACK, 30 PT.)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715264" y="2430335"/>
            <a:ext cx="11481380" cy="3889525"/>
          </a:xfrm>
          <a:prstGeom prst="rect">
            <a:avLst/>
          </a:prstGeom>
        </p:spPr>
        <p:txBody>
          <a:bodyPr/>
          <a:lstStyle>
            <a:lvl1pPr marL="365771" indent="-365771">
              <a:buFont typeface="Lucida Grande"/>
              <a:buChar char="&gt;"/>
              <a:defRPr sz="2560" b="1" i="0" baseline="0">
                <a:solidFill>
                  <a:schemeClr val="tx1"/>
                </a:solidFill>
                <a:latin typeface="Open Sans"/>
                <a:cs typeface="Open Sans"/>
              </a:defRPr>
            </a:lvl1pPr>
            <a:lvl2pPr>
              <a:defRPr sz="2133" b="1" i="0" baseline="0">
                <a:solidFill>
                  <a:schemeClr val="tx1"/>
                </a:solidFill>
                <a:latin typeface="Open Sans"/>
                <a:cs typeface="Open Sans"/>
              </a:defRPr>
            </a:lvl2pPr>
            <a:lvl3pPr marL="1219238" indent="-243848">
              <a:buSzPct val="100000"/>
              <a:buFont typeface="Lucida Grande"/>
              <a:buChar char="&gt;"/>
              <a:defRPr sz="1920" b="1" i="0" baseline="0">
                <a:solidFill>
                  <a:schemeClr val="tx1"/>
                </a:solidFill>
                <a:latin typeface="Open Sans"/>
                <a:cs typeface="Open Sans"/>
              </a:defRPr>
            </a:lvl3pPr>
            <a:lvl4pPr>
              <a:defRPr sz="1707" b="1" i="0" baseline="0">
                <a:solidFill>
                  <a:schemeClr val="tx1"/>
                </a:solidFill>
                <a:latin typeface="Open Sans"/>
                <a:cs typeface="Open Sans"/>
              </a:defRPr>
            </a:lvl4pPr>
            <a:lvl5pPr marL="2194629" indent="-243848">
              <a:buFont typeface="Lucida Grande"/>
              <a:buChar char="&gt;"/>
              <a:defRPr sz="1493" b="1" i="0" baseline="0">
                <a:solidFill>
                  <a:schemeClr val="tx1"/>
                </a:solidFill>
                <a:latin typeface="Open Sans"/>
                <a:cs typeface="Open Sans"/>
              </a:defRPr>
            </a:lvl5pPr>
          </a:lstStyle>
          <a:p>
            <a:pPr lvl="0"/>
            <a:r>
              <a:rPr lang="en-US" dirty="0"/>
              <a:t>Content here (Open Sans Bold, 24 pt.)</a:t>
            </a:r>
          </a:p>
          <a:p>
            <a:pPr lvl="1"/>
            <a:r>
              <a:rPr lang="en-US" dirty="0"/>
              <a:t>Second level (Open Sans Bold, 20)</a:t>
            </a:r>
          </a:p>
          <a:p>
            <a:pPr lvl="2"/>
            <a:r>
              <a:rPr lang="en-US" dirty="0"/>
              <a:t>Third level (Open Sans Bold, 18)</a:t>
            </a:r>
          </a:p>
          <a:p>
            <a:pPr lvl="3"/>
            <a:r>
              <a:rPr lang="en-US" dirty="0"/>
              <a:t>Fourth level (Open Sans Bold, 16)</a:t>
            </a:r>
          </a:p>
          <a:p>
            <a:pPr lvl="4"/>
            <a:r>
              <a:rPr lang="en-US" dirty="0"/>
              <a:t>Fifth level (Open Sans Bold, 14)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15264" y="2022501"/>
            <a:ext cx="11481380" cy="28598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1493" b="0" i="0" baseline="0">
                <a:solidFill>
                  <a:schemeClr val="accent4">
                    <a:lumMod val="50000"/>
                  </a:schemeClr>
                </a:solidFill>
                <a:latin typeface="Uni Sans Book" panose="00000500000000000000" pitchFamily="50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87695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39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3086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781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 dirty="0"/>
              <a:t>SUB-HEADER HERE (UNI SANS, 14 PT.)</a:t>
            </a:r>
          </a:p>
        </p:txBody>
      </p:sp>
      <p:sp>
        <p:nvSpPr>
          <p:cNvPr id="17" name="Slide Number Placeholder 10">
            <a:extLst>
              <a:ext uri="{FF2B5EF4-FFF2-40B4-BE49-F238E27FC236}">
                <a16:creationId xmlns:a16="http://schemas.microsoft.com/office/drawing/2014/main" id="{A2ED9C39-E899-4AC0-8CCE-662F985473A4}"/>
              </a:ext>
            </a:extLst>
          </p:cNvPr>
          <p:cNvSpPr txBox="1">
            <a:spLocks/>
          </p:cNvSpPr>
          <p:nvPr userDrawn="1"/>
        </p:nvSpPr>
        <p:spPr>
          <a:xfrm>
            <a:off x="261838" y="6727692"/>
            <a:ext cx="453426" cy="389467"/>
          </a:xfrm>
          <a:prstGeom prst="rect">
            <a:avLst/>
          </a:prstGeom>
        </p:spPr>
        <p:txBody>
          <a:bodyPr vert="horz" lIns="97536" tIns="48768" rIns="97536" bIns="48768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876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DA41B0-E16D-48B4-8B5D-6BC89192C442}" type="slidenum">
              <a:rPr kumimoji="0" lang="en-US" sz="1280" b="0" i="0" u="none" strike="noStrike" kern="1200" cap="none" spc="0" normalizeH="0" baseline="0" noProof="0" smtClean="0">
                <a:ln>
                  <a:noFill/>
                </a:ln>
                <a:solidFill>
                  <a:srgbClr val="33006F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769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80" b="0" i="0" u="none" strike="noStrike" kern="1200" cap="none" spc="0" normalizeH="0" baseline="0" noProof="0" dirty="0">
              <a:ln>
                <a:noFill/>
              </a:ln>
              <a:solidFill>
                <a:srgbClr val="33006F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15265" y="1797862"/>
            <a:ext cx="1177366" cy="102786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15398" y="6586002"/>
            <a:ext cx="3381247" cy="4424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446688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+ Sub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black and white photo of a building&#10;&#10;Description automatically generated">
            <a:extLst>
              <a:ext uri="{FF2B5EF4-FFF2-40B4-BE49-F238E27FC236}">
                <a16:creationId xmlns:a16="http://schemas.microsoft.com/office/drawing/2014/main" id="{ACEBBB61-F2FF-4727-9371-BFCB19E5B40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5743"/>
          <a:stretch/>
        </p:blipFill>
        <p:spPr>
          <a:xfrm>
            <a:off x="0" y="0"/>
            <a:ext cx="13022990" cy="73152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B0DF0A47-AC9F-461D-B72F-EDFD74858C7E}"/>
              </a:ext>
            </a:extLst>
          </p:cNvPr>
          <p:cNvSpPr/>
          <p:nvPr userDrawn="1"/>
        </p:nvSpPr>
        <p:spPr>
          <a:xfrm>
            <a:off x="0" y="0"/>
            <a:ext cx="13022990" cy="7315200"/>
          </a:xfrm>
          <a:prstGeom prst="rect">
            <a:avLst/>
          </a:prstGeom>
          <a:solidFill>
            <a:schemeClr val="bg2">
              <a:alpha val="76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560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89876" y="1940486"/>
            <a:ext cx="1569822" cy="137046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780845" y="1939212"/>
            <a:ext cx="1569822" cy="137049"/>
          </a:xfrm>
          <a:prstGeom prst="rect">
            <a:avLst/>
          </a:prstGeom>
        </p:spPr>
      </p:pic>
      <p:sp>
        <p:nvSpPr>
          <p:cNvPr id="2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637047" y="3299896"/>
            <a:ext cx="11658117" cy="3202505"/>
          </a:xfrm>
          <a:prstGeom prst="rect">
            <a:avLst/>
          </a:prstGeom>
        </p:spPr>
        <p:txBody>
          <a:bodyPr/>
          <a:lstStyle>
            <a:lvl1pPr marL="487684" indent="-487684">
              <a:buFont typeface="Lucida Grande"/>
              <a:buChar char="&gt;"/>
              <a:defRPr sz="3413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845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625610" indent="-325122">
              <a:buSzPct val="100000"/>
              <a:buFont typeface="Lucida Grande"/>
              <a:buChar char="&gt;"/>
              <a:defRPr sz="2560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2275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926098" indent="-325122">
              <a:buFont typeface="Lucida Grande"/>
              <a:buChar char="&gt;"/>
              <a:defRPr sz="1992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 Bold, 20)</a:t>
            </a:r>
          </a:p>
          <a:p>
            <a:pPr lvl="2"/>
            <a:r>
              <a:rPr lang="en-US"/>
              <a:t>Third level (Open Sans Bold, 18)</a:t>
            </a:r>
          </a:p>
          <a:p>
            <a:pPr lvl="3"/>
            <a:r>
              <a:rPr lang="en-US"/>
              <a:t>Fourth level (Open Sans Bold, 16)</a:t>
            </a:r>
          </a:p>
          <a:p>
            <a:pPr lvl="4"/>
            <a:r>
              <a:rPr lang="en-US"/>
              <a:t>Fifth level (Open Sans Bold, 14)</a:t>
            </a:r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54756" y="2461394"/>
            <a:ext cx="11640409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3413" b="0" i="0" baseline="0">
                <a:solidFill>
                  <a:schemeClr val="tx2"/>
                </a:solidFill>
                <a:latin typeface="Uni Sans" charset="0"/>
                <a:ea typeface="Uni Sans" charset="0"/>
                <a:cs typeface="Uni Sans" charset="0"/>
              </a:defRPr>
            </a:lvl1pPr>
            <a:lvl2pPr marL="650244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1300489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95073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2600976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7046" y="525207"/>
            <a:ext cx="11658111" cy="1413369"/>
          </a:xfrm>
          <a:prstGeom prst="rect">
            <a:avLst/>
          </a:prstGeom>
        </p:spPr>
        <p:txBody>
          <a:bodyPr anchor="b"/>
          <a:lstStyle>
            <a:lvl1pPr algn="l">
              <a:defRPr sz="4267" b="1" i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  <a:br>
              <a:rPr lang="en-US"/>
            </a:br>
            <a:r>
              <a:rPr lang="en-US"/>
              <a:t>(ENCODE NORMAL BLACK, 30 PT.)</a:t>
            </a:r>
          </a:p>
        </p:txBody>
      </p:sp>
      <p:pic>
        <p:nvPicPr>
          <p:cNvPr id="14" name="Picture 13" descr="A close up of a logo&#10;&#10;Description automatically generated">
            <a:extLst>
              <a:ext uri="{FF2B5EF4-FFF2-40B4-BE49-F238E27FC236}">
                <a16:creationId xmlns:a16="http://schemas.microsoft.com/office/drawing/2014/main" id="{E83EAACA-91C2-475E-8300-A03026DB0423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959849" y="6638167"/>
            <a:ext cx="2335316" cy="3036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8266188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15398" y="6586002"/>
            <a:ext cx="3381247" cy="442406"/>
          </a:xfrm>
          <a:prstGeom prst="rect">
            <a:avLst/>
          </a:prstGeom>
        </p:spPr>
      </p:pic>
      <p:sp>
        <p:nvSpPr>
          <p:cNvPr id="15" name="Slide Number Placeholder 10">
            <a:extLst>
              <a:ext uri="{FF2B5EF4-FFF2-40B4-BE49-F238E27FC236}">
                <a16:creationId xmlns:a16="http://schemas.microsoft.com/office/drawing/2014/main" id="{A2ED9C39-E899-4AC0-8CCE-662F985473A4}"/>
              </a:ext>
            </a:extLst>
          </p:cNvPr>
          <p:cNvSpPr txBox="1">
            <a:spLocks/>
          </p:cNvSpPr>
          <p:nvPr userDrawn="1"/>
        </p:nvSpPr>
        <p:spPr>
          <a:xfrm>
            <a:off x="261838" y="6727692"/>
            <a:ext cx="453426" cy="389467"/>
          </a:xfrm>
          <a:prstGeom prst="rect">
            <a:avLst/>
          </a:prstGeom>
        </p:spPr>
        <p:txBody>
          <a:bodyPr vert="horz" lIns="97536" tIns="48768" rIns="97536" bIns="48768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876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DA41B0-E16D-48B4-8B5D-6BC89192C442}" type="slidenum">
              <a:rPr kumimoji="0" lang="en-US" sz="1280" b="0" i="0" u="none" strike="noStrike" kern="1200" cap="none" spc="0" normalizeH="0" baseline="0" noProof="0" smtClean="0">
                <a:ln>
                  <a:noFill/>
                </a:ln>
                <a:solidFill>
                  <a:srgbClr val="33006F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769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80" b="0" i="0" u="none" strike="noStrike" kern="1200" cap="none" spc="0" normalizeH="0" baseline="0" noProof="0" dirty="0">
              <a:ln>
                <a:noFill/>
              </a:ln>
              <a:solidFill>
                <a:srgbClr val="33006F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715264" y="1130497"/>
            <a:ext cx="11481380" cy="571942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 dirty="0"/>
              <a:t>HEADER HERE (ENCODE NORMAL BLACK, 30 PT.)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715264" y="1996071"/>
            <a:ext cx="11481380" cy="4323789"/>
          </a:xfrm>
          <a:prstGeom prst="rect">
            <a:avLst/>
          </a:prstGeom>
        </p:spPr>
        <p:txBody>
          <a:bodyPr/>
          <a:lstStyle>
            <a:lvl1pPr marL="365771" indent="-365771">
              <a:buFont typeface="Lucida Grande"/>
              <a:buChar char="&gt;"/>
              <a:defRPr sz="2560" b="1" i="0" baseline="0">
                <a:solidFill>
                  <a:schemeClr val="tx1"/>
                </a:solidFill>
                <a:latin typeface="Open Sans"/>
                <a:cs typeface="Open Sans"/>
              </a:defRPr>
            </a:lvl1pPr>
            <a:lvl2pPr>
              <a:defRPr sz="2133" b="1" i="0" baseline="0">
                <a:solidFill>
                  <a:schemeClr val="tx1"/>
                </a:solidFill>
                <a:latin typeface="Open Sans"/>
                <a:cs typeface="Open Sans"/>
              </a:defRPr>
            </a:lvl2pPr>
            <a:lvl3pPr marL="1219238" indent="-243848">
              <a:buSzPct val="100000"/>
              <a:buFont typeface="Lucida Grande"/>
              <a:buChar char="&gt;"/>
              <a:defRPr sz="1920" b="1" i="0" baseline="0">
                <a:solidFill>
                  <a:schemeClr val="tx1"/>
                </a:solidFill>
                <a:latin typeface="Open Sans"/>
                <a:cs typeface="Open Sans"/>
              </a:defRPr>
            </a:lvl3pPr>
            <a:lvl4pPr>
              <a:defRPr sz="1707" b="1" i="0" baseline="0">
                <a:solidFill>
                  <a:schemeClr val="tx1"/>
                </a:solidFill>
                <a:latin typeface="Open Sans"/>
                <a:cs typeface="Open Sans"/>
              </a:defRPr>
            </a:lvl4pPr>
            <a:lvl5pPr marL="2194629" indent="-243848">
              <a:buFont typeface="Lucida Grande"/>
              <a:buChar char="&gt;"/>
              <a:defRPr sz="1493" b="1" i="0" baseline="0">
                <a:solidFill>
                  <a:schemeClr val="tx1"/>
                </a:solidFill>
                <a:latin typeface="Open Sans"/>
                <a:cs typeface="Open Sans"/>
              </a:defRPr>
            </a:lvl5pPr>
          </a:lstStyle>
          <a:p>
            <a:pPr lvl="0"/>
            <a:r>
              <a:rPr lang="en-US" dirty="0"/>
              <a:t>Content here (Open Sans Bold, 24 pt.)</a:t>
            </a:r>
          </a:p>
          <a:p>
            <a:pPr lvl="1"/>
            <a:r>
              <a:rPr lang="en-US" dirty="0"/>
              <a:t>Second level (Open Sans Bold, 20)</a:t>
            </a:r>
          </a:p>
          <a:p>
            <a:pPr lvl="2"/>
            <a:r>
              <a:rPr lang="en-US" dirty="0"/>
              <a:t>Third level (Open Sans Bold, 18)</a:t>
            </a:r>
          </a:p>
          <a:p>
            <a:pPr lvl="3"/>
            <a:r>
              <a:rPr lang="en-US" dirty="0"/>
              <a:t>Fourth level (Open Sans Bold, 16)</a:t>
            </a:r>
          </a:p>
          <a:p>
            <a:pPr lvl="4"/>
            <a:r>
              <a:rPr lang="en-US" dirty="0"/>
              <a:t>Fifth level (Open Sans Bold, 14)</a:t>
            </a:r>
          </a:p>
        </p:txBody>
      </p:sp>
    </p:spTree>
    <p:extLst>
      <p:ext uri="{BB962C8B-B14F-4D97-AF65-F5344CB8AC3E}">
        <p14:creationId xmlns:p14="http://schemas.microsoft.com/office/powerpoint/2010/main" val="1298429329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15398" y="6586002"/>
            <a:ext cx="3381247" cy="442406"/>
          </a:xfrm>
          <a:prstGeom prst="rect">
            <a:avLst/>
          </a:prstGeom>
        </p:spPr>
      </p:pic>
      <p:sp>
        <p:nvSpPr>
          <p:cNvPr id="14" name="Slide Number Placeholder 10">
            <a:extLst>
              <a:ext uri="{FF2B5EF4-FFF2-40B4-BE49-F238E27FC236}">
                <a16:creationId xmlns:a16="http://schemas.microsoft.com/office/drawing/2014/main" id="{A2ED9C39-E899-4AC0-8CCE-662F985473A4}"/>
              </a:ext>
            </a:extLst>
          </p:cNvPr>
          <p:cNvSpPr txBox="1">
            <a:spLocks/>
          </p:cNvSpPr>
          <p:nvPr userDrawn="1"/>
        </p:nvSpPr>
        <p:spPr>
          <a:xfrm>
            <a:off x="261838" y="6727692"/>
            <a:ext cx="453426" cy="389467"/>
          </a:xfrm>
          <a:prstGeom prst="rect">
            <a:avLst/>
          </a:prstGeom>
        </p:spPr>
        <p:txBody>
          <a:bodyPr vert="horz" lIns="97536" tIns="48768" rIns="97536" bIns="48768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876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DA41B0-E16D-48B4-8B5D-6BC89192C442}" type="slidenum">
              <a:rPr kumimoji="0" lang="en-US" sz="1280" b="0" i="0" u="none" strike="noStrike" kern="1200" cap="none" spc="0" normalizeH="0" baseline="0" noProof="0" smtClean="0">
                <a:ln>
                  <a:noFill/>
                </a:ln>
                <a:solidFill>
                  <a:srgbClr val="33006F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769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80" b="0" i="0" u="none" strike="noStrike" kern="1200" cap="none" spc="0" normalizeH="0" baseline="0" noProof="0" dirty="0">
              <a:ln>
                <a:noFill/>
              </a:ln>
              <a:solidFill>
                <a:srgbClr val="33006F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15264" y="1130497"/>
            <a:ext cx="11481380" cy="571942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 dirty="0"/>
              <a:t>HEADER HERE (ENCODE NORMAL BLACK, 30 PT.)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15265" y="1797862"/>
            <a:ext cx="1177366" cy="1027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6220016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er Only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10">
            <a:extLst>
              <a:ext uri="{FF2B5EF4-FFF2-40B4-BE49-F238E27FC236}">
                <a16:creationId xmlns:a16="http://schemas.microsoft.com/office/drawing/2014/main" id="{A2ED9C39-E899-4AC0-8CCE-662F985473A4}"/>
              </a:ext>
            </a:extLst>
          </p:cNvPr>
          <p:cNvSpPr txBox="1">
            <a:spLocks/>
          </p:cNvSpPr>
          <p:nvPr userDrawn="1"/>
        </p:nvSpPr>
        <p:spPr>
          <a:xfrm>
            <a:off x="261838" y="6727692"/>
            <a:ext cx="453426" cy="389467"/>
          </a:xfrm>
          <a:prstGeom prst="rect">
            <a:avLst/>
          </a:prstGeom>
        </p:spPr>
        <p:txBody>
          <a:bodyPr vert="horz" lIns="97536" tIns="48768" rIns="97536" bIns="48768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876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DA41B0-E16D-48B4-8B5D-6BC89192C442}" type="slidenum">
              <a:rPr kumimoji="0" lang="en-US" sz="1280" b="0" i="0" u="none" strike="noStrike" kern="1200" cap="none" spc="0" normalizeH="0" baseline="0" noProof="0" smtClean="0">
                <a:ln>
                  <a:noFill/>
                </a:ln>
                <a:solidFill>
                  <a:srgbClr val="33006F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769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80" b="0" i="0" u="none" strike="noStrike" kern="1200" cap="none" spc="0" normalizeH="0" baseline="0" noProof="0" dirty="0">
              <a:ln>
                <a:noFill/>
              </a:ln>
              <a:solidFill>
                <a:srgbClr val="33006F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715264" y="117980"/>
            <a:ext cx="11481380" cy="571942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 dirty="0"/>
              <a:t>HEADER HERE (ENCODE NORMAL BLACK, 30 PT.)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15265" y="785345"/>
            <a:ext cx="1177366" cy="1027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4316668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bg>
      <p:bgPr>
        <a:solidFill>
          <a:srgbClr val="4B2E8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UW_W Logo_White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89603" y="6342244"/>
            <a:ext cx="1950720" cy="985114"/>
          </a:xfrm>
          <a:prstGeom prst="rect">
            <a:avLst/>
          </a:prstGeom>
        </p:spPr>
      </p:pic>
      <p:pic>
        <p:nvPicPr>
          <p:cNvPr id="2" name="Picture 1" descr="Bar_RtAngle_7502_RGB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7106" y="4273157"/>
            <a:ext cx="3248786" cy="120288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955388" y="1258480"/>
            <a:ext cx="9916160" cy="2817873"/>
          </a:xfrm>
          <a:prstGeom prst="rect">
            <a:avLst/>
          </a:prstGeom>
        </p:spPr>
        <p:txBody>
          <a:bodyPr anchor="b"/>
          <a:lstStyle>
            <a:lvl1pPr algn="l">
              <a:defRPr sz="5336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 dirty="0"/>
              <a:t>TITLE HERE</a:t>
            </a:r>
            <a:br>
              <a:rPr lang="en-US" dirty="0"/>
            </a:br>
            <a:r>
              <a:rPr lang="en-US" dirty="0"/>
              <a:t>ENCODE NORMAL</a:t>
            </a:r>
            <a:br>
              <a:rPr lang="en-US" dirty="0"/>
            </a:br>
            <a:r>
              <a:rPr lang="en-US" dirty="0"/>
              <a:t>BLACK, 50 PT. 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116" b="-577"/>
          <a:stretch/>
        </p:blipFill>
        <p:spPr>
          <a:xfrm>
            <a:off x="1126458" y="6668801"/>
            <a:ext cx="3701859" cy="454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97369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400" b="1" i="0">
                <a:solidFill>
                  <a:srgbClr val="33006E"/>
                </a:solidFill>
                <a:latin typeface="Encode Sans Normal"/>
                <a:cs typeface="Encode Sans Norm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4/8/2024</a:t>
            </a:fld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50" b="0" i="0">
                <a:solidFill>
                  <a:srgbClr val="8F88A3"/>
                </a:solidFill>
                <a:latin typeface="Calibri"/>
                <a:cs typeface="Calibri"/>
              </a:defRPr>
            </a:lvl1pPr>
          </a:lstStyle>
          <a:p>
            <a:pPr marL="25401">
              <a:lnSpc>
                <a:spcPts val="1315"/>
              </a:lnSpc>
            </a:pPr>
            <a:fld id="{81D60167-4931-47E6-BA6A-407CBD079E47}" type="slidenum">
              <a:rPr lang="en-US" spc="15" smtClean="0"/>
              <a:pPr marL="25401">
                <a:lnSpc>
                  <a:spcPts val="1315"/>
                </a:lnSpc>
              </a:pPr>
              <a:t>‹#›</a:t>
            </a:fld>
            <a:endParaRPr lang="en-US" spc="15" dirty="0"/>
          </a:p>
        </p:txBody>
      </p:sp>
    </p:spTree>
    <p:extLst>
      <p:ext uri="{BB962C8B-B14F-4D97-AF65-F5344CB8AC3E}">
        <p14:creationId xmlns:p14="http://schemas.microsoft.com/office/powerpoint/2010/main" val="2736933956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solidFill>
          <a:srgbClr val="4B2E8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955388" y="1258479"/>
            <a:ext cx="9916160" cy="2817873"/>
          </a:xfrm>
          <a:prstGeom prst="rect">
            <a:avLst/>
          </a:prstGeom>
        </p:spPr>
        <p:txBody>
          <a:bodyPr anchor="b"/>
          <a:lstStyle>
            <a:lvl1pPr algn="l">
              <a:defRPr sz="5334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TITLE HERE</a:t>
            </a:r>
            <a:br>
              <a:rPr lang="en-US"/>
            </a:br>
            <a:r>
              <a:rPr lang="en-US"/>
              <a:t>ENCODE NORMAL</a:t>
            </a:r>
            <a:br>
              <a:rPr lang="en-US"/>
            </a:br>
            <a:r>
              <a:rPr lang="en-US"/>
              <a:t>BLACK, 50 PT. </a:t>
            </a:r>
          </a:p>
        </p:txBody>
      </p:sp>
      <p:pic>
        <p:nvPicPr>
          <p:cNvPr id="2" name="Picture 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7102" y="4273157"/>
            <a:ext cx="3248786" cy="120288"/>
          </a:xfrm>
          <a:prstGeom prst="rect">
            <a:avLst/>
          </a:prstGeom>
        </p:spPr>
      </p:pic>
      <p:pic>
        <p:nvPicPr>
          <p:cNvPr id="9" name="Picture 8" descr="University of Washington logo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63320" y="6777850"/>
            <a:ext cx="3612444" cy="284480"/>
          </a:xfrm>
          <a:prstGeom prst="rect">
            <a:avLst/>
          </a:prstGeom>
        </p:spPr>
      </p:pic>
      <p:pic>
        <p:nvPicPr>
          <p:cNvPr id="5" name="Picture 4" descr="W logo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89604" y="6342244"/>
            <a:ext cx="1950720" cy="9851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349125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+ Sub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55388" y="389407"/>
            <a:ext cx="11640408" cy="1065003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  <a:br>
              <a:rPr lang="en-US"/>
            </a:br>
            <a:r>
              <a:rPr lang="en-US"/>
              <a:t>(ENCODE NORMAL BLACK, 30 PT.)</a:t>
            </a:r>
          </a:p>
        </p:txBody>
      </p:sp>
      <p:pic>
        <p:nvPicPr>
          <p:cNvPr id="8" name="Picture 7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5342" y="1533659"/>
            <a:ext cx="1931639" cy="71520"/>
          </a:xfrm>
          <a:prstGeom prst="rect">
            <a:avLst/>
          </a:prstGeom>
        </p:spPr>
      </p:pic>
      <p:sp>
        <p:nvSpPr>
          <p:cNvPr id="5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955388" y="1846046"/>
            <a:ext cx="11640408" cy="4385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2560" b="0" i="0" baseline="0">
                <a:solidFill>
                  <a:srgbClr val="FFFFFF"/>
                </a:solidFill>
                <a:latin typeface="Uni Sans Regular"/>
                <a:cs typeface="Uni Sans Regular"/>
              </a:defRPr>
            </a:lvl1pPr>
            <a:lvl2pPr marL="487695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39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3086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781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	, 24 PT.)</a:t>
            </a:r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937678" y="2474921"/>
            <a:ext cx="11658118" cy="4064092"/>
          </a:xfrm>
          <a:prstGeom prst="rect">
            <a:avLst/>
          </a:prstGeom>
        </p:spPr>
        <p:txBody>
          <a:bodyPr/>
          <a:lstStyle>
            <a:lvl1pPr marL="365771" indent="-365771">
              <a:buFont typeface="Lucida Grande"/>
              <a:buChar char="&gt;"/>
              <a:defRPr sz="2560" b="1" i="0" baseline="0">
                <a:solidFill>
                  <a:srgbClr val="FFFFFF"/>
                </a:solidFill>
                <a:latin typeface="Open Sans"/>
                <a:cs typeface="Open Sans"/>
              </a:defRPr>
            </a:lvl1pPr>
            <a:lvl2pPr>
              <a:defRPr sz="2133" b="1" i="0" baseline="0">
                <a:solidFill>
                  <a:srgbClr val="FFFFFF"/>
                </a:solidFill>
                <a:latin typeface="Open Sans"/>
                <a:cs typeface="Open Sans"/>
              </a:defRPr>
            </a:lvl2pPr>
            <a:lvl3pPr marL="1219238" indent="-243848">
              <a:buSzPct val="100000"/>
              <a:buFont typeface="Lucida Grande"/>
              <a:buChar char="&gt;"/>
              <a:defRPr sz="1920" b="1" i="0" baseline="0">
                <a:solidFill>
                  <a:srgbClr val="FFFFFF"/>
                </a:solidFill>
                <a:latin typeface="Open Sans"/>
                <a:cs typeface="Open Sans"/>
              </a:defRPr>
            </a:lvl3pPr>
            <a:lvl4pPr>
              <a:defRPr sz="1707" b="1" i="0" baseline="0">
                <a:solidFill>
                  <a:srgbClr val="FFFFFF"/>
                </a:solidFill>
                <a:latin typeface="Open Sans"/>
                <a:cs typeface="Open Sans"/>
              </a:defRPr>
            </a:lvl4pPr>
            <a:lvl5pPr marL="2194629" indent="-243848">
              <a:buFont typeface="Lucida Grande"/>
              <a:buChar char="&gt;"/>
              <a:defRPr sz="1493" b="1" i="0" baseline="0">
                <a:solidFill>
                  <a:srgbClr val="FFFFFF"/>
                </a:solidFill>
                <a:latin typeface="Open Sans"/>
                <a:cs typeface="Open Sans"/>
              </a:defRPr>
            </a:lvl5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 Bold, 20)</a:t>
            </a:r>
          </a:p>
          <a:p>
            <a:pPr lvl="2"/>
            <a:r>
              <a:rPr lang="en-US"/>
              <a:t>Third level (Open Sans Bold, 18)</a:t>
            </a:r>
          </a:p>
          <a:p>
            <a:pPr lvl="3"/>
            <a:r>
              <a:rPr lang="en-US"/>
              <a:t>Fourth level (Open Sans Bold, 16)</a:t>
            </a:r>
          </a:p>
          <a:p>
            <a:pPr lvl="4"/>
            <a:r>
              <a:rPr lang="en-US"/>
              <a:t>Fifth level (Open Sans Bold, 14)</a:t>
            </a:r>
          </a:p>
        </p:txBody>
      </p:sp>
      <p:pic>
        <p:nvPicPr>
          <p:cNvPr id="7" name="Picture 6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886615" y="6777850"/>
            <a:ext cx="3612444" cy="284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9240561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+ Content">
    <p:bg>
      <p:bgPr>
        <a:solidFill>
          <a:srgbClr val="4B2E8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55387" y="396279"/>
            <a:ext cx="11469518" cy="1058131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  <a:br>
              <a:rPr lang="en-US"/>
            </a:br>
            <a:r>
              <a:rPr lang="en-US"/>
              <a:t>(ENCODE NORMAL BLACK, 30 PT.)</a:t>
            </a:r>
          </a:p>
        </p:txBody>
      </p:sp>
      <p:pic>
        <p:nvPicPr>
          <p:cNvPr id="8" name="Picture 7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5342" y="1533659"/>
            <a:ext cx="1931639" cy="71520"/>
          </a:xfrm>
          <a:prstGeom prst="rect">
            <a:avLst/>
          </a:prstGeom>
        </p:spPr>
      </p:pic>
      <p:sp>
        <p:nvSpPr>
          <p:cNvPr id="6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937678" y="1852507"/>
            <a:ext cx="11487226" cy="4283197"/>
          </a:xfrm>
          <a:prstGeom prst="rect">
            <a:avLst/>
          </a:prstGeom>
        </p:spPr>
        <p:txBody>
          <a:bodyPr/>
          <a:lstStyle>
            <a:lvl1pPr marL="365771" indent="-365771">
              <a:buFont typeface="Lucida Grande"/>
              <a:buChar char="&gt;"/>
              <a:defRPr sz="2560" b="1" i="0" baseline="0">
                <a:solidFill>
                  <a:srgbClr val="FFFFFF"/>
                </a:solidFill>
                <a:latin typeface="Open Sans"/>
                <a:cs typeface="Open Sans"/>
              </a:defRPr>
            </a:lvl1pPr>
            <a:lvl2pPr>
              <a:defRPr sz="2133" b="1" i="0" baseline="0">
                <a:solidFill>
                  <a:srgbClr val="FFFFFF"/>
                </a:solidFill>
                <a:latin typeface="Open Sans"/>
                <a:cs typeface="Open Sans"/>
              </a:defRPr>
            </a:lvl2pPr>
            <a:lvl3pPr marL="1219238" indent="-243848">
              <a:buSzPct val="100000"/>
              <a:buFont typeface="Lucida Grande"/>
              <a:buChar char="&gt;"/>
              <a:defRPr sz="1920" b="1" i="0" baseline="0">
                <a:solidFill>
                  <a:srgbClr val="FFFFFF"/>
                </a:solidFill>
                <a:latin typeface="Open Sans"/>
                <a:cs typeface="Open Sans"/>
              </a:defRPr>
            </a:lvl3pPr>
            <a:lvl4pPr>
              <a:defRPr sz="1707" b="1" i="0" baseline="0">
                <a:solidFill>
                  <a:srgbClr val="FFFFFF"/>
                </a:solidFill>
                <a:latin typeface="Open Sans"/>
                <a:cs typeface="Open Sans"/>
              </a:defRPr>
            </a:lvl4pPr>
            <a:lvl5pPr marL="2194629" indent="-243848">
              <a:buFont typeface="Lucida Grande"/>
              <a:buChar char="&gt;"/>
              <a:defRPr sz="1493" b="1" i="0" baseline="0">
                <a:solidFill>
                  <a:srgbClr val="FFFFFF"/>
                </a:solidFill>
                <a:latin typeface="Open Sans"/>
                <a:cs typeface="Open Sans"/>
              </a:defRPr>
            </a:lvl5pPr>
          </a:lstStyle>
          <a:p>
            <a:pPr lvl="0"/>
            <a:r>
              <a:rPr lang="en-US"/>
              <a:t>Bulleted content here (Open Sans Light, 24 pt.)</a:t>
            </a:r>
          </a:p>
          <a:p>
            <a:pPr lvl="1"/>
            <a:r>
              <a:rPr lang="en-US"/>
              <a:t>Second level (Open Sans Light, 20)</a:t>
            </a:r>
          </a:p>
          <a:p>
            <a:pPr lvl="2"/>
            <a:r>
              <a:rPr lang="en-US"/>
              <a:t>Third level (Open Sans Light, 18)</a:t>
            </a:r>
          </a:p>
          <a:p>
            <a:pPr lvl="3"/>
            <a:r>
              <a:rPr lang="en-US"/>
              <a:t>Fourth level (Open Sans Light, 16)</a:t>
            </a:r>
          </a:p>
          <a:p>
            <a:pPr lvl="4"/>
            <a:r>
              <a:rPr lang="en-US"/>
              <a:t>Fifth level (Open Sans Light, 14)</a:t>
            </a:r>
          </a:p>
        </p:txBody>
      </p:sp>
      <p:pic>
        <p:nvPicPr>
          <p:cNvPr id="5" name="Picture 4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89604" y="6342244"/>
            <a:ext cx="1950720" cy="9851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63379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+ Graphic">
    <p:bg>
      <p:bgPr>
        <a:solidFill>
          <a:srgbClr val="4B2E8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55387" y="396279"/>
            <a:ext cx="11543671" cy="1058131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  <a:br>
              <a:rPr lang="en-US"/>
            </a:br>
            <a:r>
              <a:rPr lang="en-US"/>
              <a:t>(ENCODE NORMAL BLACK, 30 PT.)</a:t>
            </a:r>
          </a:p>
        </p:txBody>
      </p:sp>
      <p:pic>
        <p:nvPicPr>
          <p:cNvPr id="8" name="Picture 7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5342" y="1533659"/>
            <a:ext cx="1931639" cy="71520"/>
          </a:xfrm>
          <a:prstGeom prst="rect">
            <a:avLst/>
          </a:prstGeom>
        </p:spPr>
      </p:pic>
      <p:sp>
        <p:nvSpPr>
          <p:cNvPr id="12" name="Chart Placeholder 11"/>
          <p:cNvSpPr>
            <a:spLocks noGrp="1"/>
          </p:cNvSpPr>
          <p:nvPr>
            <p:ph type="chart" sz="quarter" idx="12" hasCustomPrompt="1"/>
          </p:nvPr>
        </p:nvSpPr>
        <p:spPr>
          <a:xfrm>
            <a:off x="1090508" y="1852507"/>
            <a:ext cx="11408550" cy="472778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560" b="0" i="1" baseline="0">
                <a:solidFill>
                  <a:srgbClr val="FFFFFF"/>
                </a:solidFill>
                <a:latin typeface="Open Sans Light"/>
                <a:cs typeface="Open Sans Light"/>
              </a:defRPr>
            </a:lvl1pPr>
          </a:lstStyle>
          <a:p>
            <a:r>
              <a:rPr lang="en-US"/>
              <a:t>Graphics can go here – </a:t>
            </a:r>
            <a:br>
              <a:rPr lang="en-US"/>
            </a:br>
            <a:r>
              <a:rPr lang="en-US"/>
              <a:t>replace this box with your image or chart</a:t>
            </a:r>
          </a:p>
        </p:txBody>
      </p:sp>
      <p:pic>
        <p:nvPicPr>
          <p:cNvPr id="6" name="Picture 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886615" y="6777850"/>
            <a:ext cx="3612444" cy="284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8560325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955388" y="1244932"/>
            <a:ext cx="9916160" cy="2817873"/>
          </a:xfrm>
          <a:prstGeom prst="rect">
            <a:avLst/>
          </a:prstGeom>
        </p:spPr>
        <p:txBody>
          <a:bodyPr anchor="b"/>
          <a:lstStyle>
            <a:lvl1pPr algn="l">
              <a:defRPr sz="5334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TITLE HERE</a:t>
            </a:r>
            <a:br>
              <a:rPr lang="en-US"/>
            </a:br>
            <a:r>
              <a:rPr lang="en-US"/>
              <a:t>ENCODE NORMAL</a:t>
            </a:r>
            <a:br>
              <a:rPr lang="en-US"/>
            </a:br>
            <a:r>
              <a:rPr lang="en-US"/>
              <a:t>BLACK, 50 PT. </a:t>
            </a:r>
          </a:p>
        </p:txBody>
      </p:sp>
      <p:pic>
        <p:nvPicPr>
          <p:cNvPr id="6" name="Picture 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7102" y="4273157"/>
            <a:ext cx="3248786" cy="120288"/>
          </a:xfrm>
          <a:prstGeom prst="rect">
            <a:avLst/>
          </a:prstGeom>
        </p:spPr>
      </p:pic>
      <p:pic>
        <p:nvPicPr>
          <p:cNvPr id="9" name="Picture 8" descr="University of Washington logo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6456" y="6919954"/>
            <a:ext cx="3449308" cy="174266"/>
          </a:xfrm>
          <a:prstGeom prst="rect">
            <a:avLst/>
          </a:prstGeom>
        </p:spPr>
      </p:pic>
      <p:pic>
        <p:nvPicPr>
          <p:cNvPr id="8" name="Picture 7" descr="W logo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2909" y="6346037"/>
            <a:ext cx="1950720" cy="9851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71910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1.xml"/><Relationship Id="rId2" Type="http://schemas.openxmlformats.org/officeDocument/2006/relationships/slideLayout" Target="../slideLayouts/slideLayout100.xml"/><Relationship Id="rId1" Type="http://schemas.openxmlformats.org/officeDocument/2006/relationships/slideLayout" Target="../slideLayouts/slideLayout99.xml"/><Relationship Id="rId5" Type="http://schemas.openxmlformats.org/officeDocument/2006/relationships/theme" Target="../theme/theme10.xml"/><Relationship Id="rId4" Type="http://schemas.openxmlformats.org/officeDocument/2006/relationships/slideLayout" Target="../slideLayouts/slideLayout102.xml"/></Relationships>
</file>

<file path=ppt/slideMasters/_rels/slideMaster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5.xml"/><Relationship Id="rId2" Type="http://schemas.openxmlformats.org/officeDocument/2006/relationships/slideLayout" Target="../slideLayouts/slideLayout104.xml"/><Relationship Id="rId1" Type="http://schemas.openxmlformats.org/officeDocument/2006/relationships/slideLayout" Target="../slideLayouts/slideLayout103.xml"/><Relationship Id="rId6" Type="http://schemas.openxmlformats.org/officeDocument/2006/relationships/theme" Target="../theme/theme11.xml"/><Relationship Id="rId5" Type="http://schemas.openxmlformats.org/officeDocument/2006/relationships/slideLayout" Target="../slideLayouts/slideLayout107.xml"/><Relationship Id="rId4" Type="http://schemas.openxmlformats.org/officeDocument/2006/relationships/slideLayout" Target="../slideLayouts/slideLayout106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5.xml"/><Relationship Id="rId13" Type="http://schemas.openxmlformats.org/officeDocument/2006/relationships/slideLayout" Target="../slideLayouts/slideLayout120.xml"/><Relationship Id="rId18" Type="http://schemas.openxmlformats.org/officeDocument/2006/relationships/slideLayout" Target="../slideLayouts/slideLayout125.xml"/><Relationship Id="rId26" Type="http://schemas.openxmlformats.org/officeDocument/2006/relationships/slideLayout" Target="../slideLayouts/slideLayout133.xml"/><Relationship Id="rId3" Type="http://schemas.openxmlformats.org/officeDocument/2006/relationships/slideLayout" Target="../slideLayouts/slideLayout110.xml"/><Relationship Id="rId21" Type="http://schemas.openxmlformats.org/officeDocument/2006/relationships/slideLayout" Target="../slideLayouts/slideLayout128.xml"/><Relationship Id="rId7" Type="http://schemas.openxmlformats.org/officeDocument/2006/relationships/slideLayout" Target="../slideLayouts/slideLayout114.xml"/><Relationship Id="rId12" Type="http://schemas.openxmlformats.org/officeDocument/2006/relationships/slideLayout" Target="../slideLayouts/slideLayout119.xml"/><Relationship Id="rId17" Type="http://schemas.openxmlformats.org/officeDocument/2006/relationships/slideLayout" Target="../slideLayouts/slideLayout124.xml"/><Relationship Id="rId25" Type="http://schemas.openxmlformats.org/officeDocument/2006/relationships/slideLayout" Target="../slideLayouts/slideLayout132.xml"/><Relationship Id="rId2" Type="http://schemas.openxmlformats.org/officeDocument/2006/relationships/slideLayout" Target="../slideLayouts/slideLayout109.xml"/><Relationship Id="rId16" Type="http://schemas.openxmlformats.org/officeDocument/2006/relationships/slideLayout" Target="../slideLayouts/slideLayout123.xml"/><Relationship Id="rId20" Type="http://schemas.openxmlformats.org/officeDocument/2006/relationships/slideLayout" Target="../slideLayouts/slideLayout127.xml"/><Relationship Id="rId29" Type="http://schemas.openxmlformats.org/officeDocument/2006/relationships/slideLayout" Target="../slideLayouts/slideLayout136.xml"/><Relationship Id="rId1" Type="http://schemas.openxmlformats.org/officeDocument/2006/relationships/slideLayout" Target="../slideLayouts/slideLayout108.xml"/><Relationship Id="rId6" Type="http://schemas.openxmlformats.org/officeDocument/2006/relationships/slideLayout" Target="../slideLayouts/slideLayout113.xml"/><Relationship Id="rId11" Type="http://schemas.openxmlformats.org/officeDocument/2006/relationships/slideLayout" Target="../slideLayouts/slideLayout118.xml"/><Relationship Id="rId24" Type="http://schemas.openxmlformats.org/officeDocument/2006/relationships/slideLayout" Target="../slideLayouts/slideLayout131.xml"/><Relationship Id="rId32" Type="http://schemas.openxmlformats.org/officeDocument/2006/relationships/theme" Target="../theme/theme12.xml"/><Relationship Id="rId5" Type="http://schemas.openxmlformats.org/officeDocument/2006/relationships/slideLayout" Target="../slideLayouts/slideLayout112.xml"/><Relationship Id="rId15" Type="http://schemas.openxmlformats.org/officeDocument/2006/relationships/slideLayout" Target="../slideLayouts/slideLayout122.xml"/><Relationship Id="rId23" Type="http://schemas.openxmlformats.org/officeDocument/2006/relationships/slideLayout" Target="../slideLayouts/slideLayout130.xml"/><Relationship Id="rId28" Type="http://schemas.openxmlformats.org/officeDocument/2006/relationships/slideLayout" Target="../slideLayouts/slideLayout135.xml"/><Relationship Id="rId10" Type="http://schemas.openxmlformats.org/officeDocument/2006/relationships/slideLayout" Target="../slideLayouts/slideLayout117.xml"/><Relationship Id="rId19" Type="http://schemas.openxmlformats.org/officeDocument/2006/relationships/slideLayout" Target="../slideLayouts/slideLayout126.xml"/><Relationship Id="rId31" Type="http://schemas.openxmlformats.org/officeDocument/2006/relationships/slideLayout" Target="../slideLayouts/slideLayout138.xml"/><Relationship Id="rId4" Type="http://schemas.openxmlformats.org/officeDocument/2006/relationships/slideLayout" Target="../slideLayouts/slideLayout111.xml"/><Relationship Id="rId9" Type="http://schemas.openxmlformats.org/officeDocument/2006/relationships/slideLayout" Target="../slideLayouts/slideLayout116.xml"/><Relationship Id="rId14" Type="http://schemas.openxmlformats.org/officeDocument/2006/relationships/slideLayout" Target="../slideLayouts/slideLayout121.xml"/><Relationship Id="rId22" Type="http://schemas.openxmlformats.org/officeDocument/2006/relationships/slideLayout" Target="../slideLayouts/slideLayout129.xml"/><Relationship Id="rId27" Type="http://schemas.openxmlformats.org/officeDocument/2006/relationships/slideLayout" Target="../slideLayouts/slideLayout134.xml"/><Relationship Id="rId30" Type="http://schemas.openxmlformats.org/officeDocument/2006/relationships/slideLayout" Target="../slideLayouts/slideLayout137.xml"/></Relationships>
</file>

<file path=ppt/slideMasters/_rels/slideMaster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1.xml"/><Relationship Id="rId2" Type="http://schemas.openxmlformats.org/officeDocument/2006/relationships/slideLayout" Target="../slideLayouts/slideLayout140.xml"/><Relationship Id="rId1" Type="http://schemas.openxmlformats.org/officeDocument/2006/relationships/slideLayout" Target="../slideLayouts/slideLayout139.xml"/><Relationship Id="rId6" Type="http://schemas.openxmlformats.org/officeDocument/2006/relationships/theme" Target="../theme/theme13.xml"/><Relationship Id="rId5" Type="http://schemas.openxmlformats.org/officeDocument/2006/relationships/slideLayout" Target="../slideLayouts/slideLayout143.xml"/><Relationship Id="rId4" Type="http://schemas.openxmlformats.org/officeDocument/2006/relationships/slideLayout" Target="../slideLayouts/slideLayout14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5" Type="http://schemas.openxmlformats.org/officeDocument/2006/relationships/slideLayout" Target="../slideLayouts/slideLayout12.xml"/><Relationship Id="rId4" Type="http://schemas.openxmlformats.org/officeDocument/2006/relationships/slideLayout" Target="../slideLayouts/slideLayout11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8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heme" Target="../theme/theme4.xml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24.xml"/><Relationship Id="rId7" Type="http://schemas.openxmlformats.org/officeDocument/2006/relationships/slideLayout" Target="../slideLayouts/slideLayout28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5" Type="http://schemas.openxmlformats.org/officeDocument/2006/relationships/slideLayout" Target="../slideLayouts/slideLayout26.xml"/><Relationship Id="rId15" Type="http://schemas.openxmlformats.org/officeDocument/2006/relationships/image" Target="../media/image12.emf"/><Relationship Id="rId10" Type="http://schemas.openxmlformats.org/officeDocument/2006/relationships/slideLayout" Target="../slideLayouts/slideLayout31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oleObject" Target="../embeddings/oleObject1.bin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13" Type="http://schemas.openxmlformats.org/officeDocument/2006/relationships/slideLayout" Target="../slideLayouts/slideLayout45.xml"/><Relationship Id="rId18" Type="http://schemas.openxmlformats.org/officeDocument/2006/relationships/slideLayout" Target="../slideLayouts/slideLayout50.xml"/><Relationship Id="rId3" Type="http://schemas.openxmlformats.org/officeDocument/2006/relationships/slideLayout" Target="../slideLayouts/slideLayout35.xml"/><Relationship Id="rId21" Type="http://schemas.openxmlformats.org/officeDocument/2006/relationships/theme" Target="../theme/theme6.xml"/><Relationship Id="rId7" Type="http://schemas.openxmlformats.org/officeDocument/2006/relationships/slideLayout" Target="../slideLayouts/slideLayout39.xml"/><Relationship Id="rId12" Type="http://schemas.openxmlformats.org/officeDocument/2006/relationships/slideLayout" Target="../slideLayouts/slideLayout44.xml"/><Relationship Id="rId17" Type="http://schemas.openxmlformats.org/officeDocument/2006/relationships/slideLayout" Target="../slideLayouts/slideLayout49.xml"/><Relationship Id="rId2" Type="http://schemas.openxmlformats.org/officeDocument/2006/relationships/slideLayout" Target="../slideLayouts/slideLayout34.xml"/><Relationship Id="rId16" Type="http://schemas.openxmlformats.org/officeDocument/2006/relationships/slideLayout" Target="../slideLayouts/slideLayout48.xml"/><Relationship Id="rId20" Type="http://schemas.openxmlformats.org/officeDocument/2006/relationships/slideLayout" Target="../slideLayouts/slideLayout52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43.xml"/><Relationship Id="rId5" Type="http://schemas.openxmlformats.org/officeDocument/2006/relationships/slideLayout" Target="../slideLayouts/slideLayout37.xml"/><Relationship Id="rId15" Type="http://schemas.openxmlformats.org/officeDocument/2006/relationships/slideLayout" Target="../slideLayouts/slideLayout47.xml"/><Relationship Id="rId10" Type="http://schemas.openxmlformats.org/officeDocument/2006/relationships/slideLayout" Target="../slideLayouts/slideLayout42.xml"/><Relationship Id="rId19" Type="http://schemas.openxmlformats.org/officeDocument/2006/relationships/slideLayout" Target="../slideLayouts/slideLayout51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Relationship Id="rId14" Type="http://schemas.openxmlformats.org/officeDocument/2006/relationships/slideLayout" Target="../slideLayouts/slideLayout4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0.xml"/><Relationship Id="rId13" Type="http://schemas.openxmlformats.org/officeDocument/2006/relationships/slideLayout" Target="../slideLayouts/slideLayout65.xml"/><Relationship Id="rId18" Type="http://schemas.openxmlformats.org/officeDocument/2006/relationships/slideLayout" Target="../slideLayouts/slideLayout70.xml"/><Relationship Id="rId26" Type="http://schemas.openxmlformats.org/officeDocument/2006/relationships/slideLayout" Target="../slideLayouts/slideLayout78.xml"/><Relationship Id="rId3" Type="http://schemas.openxmlformats.org/officeDocument/2006/relationships/slideLayout" Target="../slideLayouts/slideLayout55.xml"/><Relationship Id="rId21" Type="http://schemas.openxmlformats.org/officeDocument/2006/relationships/slideLayout" Target="../slideLayouts/slideLayout73.xml"/><Relationship Id="rId7" Type="http://schemas.openxmlformats.org/officeDocument/2006/relationships/slideLayout" Target="../slideLayouts/slideLayout59.xml"/><Relationship Id="rId12" Type="http://schemas.openxmlformats.org/officeDocument/2006/relationships/slideLayout" Target="../slideLayouts/slideLayout64.xml"/><Relationship Id="rId17" Type="http://schemas.openxmlformats.org/officeDocument/2006/relationships/slideLayout" Target="../slideLayouts/slideLayout69.xml"/><Relationship Id="rId25" Type="http://schemas.openxmlformats.org/officeDocument/2006/relationships/slideLayout" Target="../slideLayouts/slideLayout77.xml"/><Relationship Id="rId2" Type="http://schemas.openxmlformats.org/officeDocument/2006/relationships/slideLayout" Target="../slideLayouts/slideLayout54.xml"/><Relationship Id="rId16" Type="http://schemas.openxmlformats.org/officeDocument/2006/relationships/slideLayout" Target="../slideLayouts/slideLayout68.xml"/><Relationship Id="rId20" Type="http://schemas.openxmlformats.org/officeDocument/2006/relationships/slideLayout" Target="../slideLayouts/slideLayout72.xml"/><Relationship Id="rId1" Type="http://schemas.openxmlformats.org/officeDocument/2006/relationships/slideLayout" Target="../slideLayouts/slideLayout53.xml"/><Relationship Id="rId6" Type="http://schemas.openxmlformats.org/officeDocument/2006/relationships/slideLayout" Target="../slideLayouts/slideLayout58.xml"/><Relationship Id="rId11" Type="http://schemas.openxmlformats.org/officeDocument/2006/relationships/slideLayout" Target="../slideLayouts/slideLayout63.xml"/><Relationship Id="rId24" Type="http://schemas.openxmlformats.org/officeDocument/2006/relationships/slideLayout" Target="../slideLayouts/slideLayout76.xml"/><Relationship Id="rId5" Type="http://schemas.openxmlformats.org/officeDocument/2006/relationships/slideLayout" Target="../slideLayouts/slideLayout57.xml"/><Relationship Id="rId15" Type="http://schemas.openxmlformats.org/officeDocument/2006/relationships/slideLayout" Target="../slideLayouts/slideLayout67.xml"/><Relationship Id="rId23" Type="http://schemas.openxmlformats.org/officeDocument/2006/relationships/slideLayout" Target="../slideLayouts/slideLayout75.xml"/><Relationship Id="rId10" Type="http://schemas.openxmlformats.org/officeDocument/2006/relationships/slideLayout" Target="../slideLayouts/slideLayout62.xml"/><Relationship Id="rId19" Type="http://schemas.openxmlformats.org/officeDocument/2006/relationships/slideLayout" Target="../slideLayouts/slideLayout71.xml"/><Relationship Id="rId4" Type="http://schemas.openxmlformats.org/officeDocument/2006/relationships/slideLayout" Target="../slideLayouts/slideLayout56.xml"/><Relationship Id="rId9" Type="http://schemas.openxmlformats.org/officeDocument/2006/relationships/slideLayout" Target="../slideLayouts/slideLayout61.xml"/><Relationship Id="rId14" Type="http://schemas.openxmlformats.org/officeDocument/2006/relationships/slideLayout" Target="../slideLayouts/slideLayout66.xml"/><Relationship Id="rId22" Type="http://schemas.openxmlformats.org/officeDocument/2006/relationships/slideLayout" Target="../slideLayouts/slideLayout74.xml"/><Relationship Id="rId27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6.xml"/><Relationship Id="rId13" Type="http://schemas.openxmlformats.org/officeDocument/2006/relationships/slideLayout" Target="../slideLayouts/slideLayout91.xml"/><Relationship Id="rId3" Type="http://schemas.openxmlformats.org/officeDocument/2006/relationships/slideLayout" Target="../slideLayouts/slideLayout81.xml"/><Relationship Id="rId7" Type="http://schemas.openxmlformats.org/officeDocument/2006/relationships/slideLayout" Target="../slideLayouts/slideLayout85.xml"/><Relationship Id="rId12" Type="http://schemas.openxmlformats.org/officeDocument/2006/relationships/slideLayout" Target="../slideLayouts/slideLayout90.xml"/><Relationship Id="rId17" Type="http://schemas.openxmlformats.org/officeDocument/2006/relationships/theme" Target="../theme/theme8.xml"/><Relationship Id="rId2" Type="http://schemas.openxmlformats.org/officeDocument/2006/relationships/slideLayout" Target="../slideLayouts/slideLayout80.xml"/><Relationship Id="rId16" Type="http://schemas.openxmlformats.org/officeDocument/2006/relationships/slideLayout" Target="../slideLayouts/slideLayout94.xml"/><Relationship Id="rId1" Type="http://schemas.openxmlformats.org/officeDocument/2006/relationships/slideLayout" Target="../slideLayouts/slideLayout79.xml"/><Relationship Id="rId6" Type="http://schemas.openxmlformats.org/officeDocument/2006/relationships/slideLayout" Target="../slideLayouts/slideLayout84.xml"/><Relationship Id="rId11" Type="http://schemas.openxmlformats.org/officeDocument/2006/relationships/slideLayout" Target="../slideLayouts/slideLayout89.xml"/><Relationship Id="rId5" Type="http://schemas.openxmlformats.org/officeDocument/2006/relationships/slideLayout" Target="../slideLayouts/slideLayout83.xml"/><Relationship Id="rId15" Type="http://schemas.openxmlformats.org/officeDocument/2006/relationships/slideLayout" Target="../slideLayouts/slideLayout93.xml"/><Relationship Id="rId10" Type="http://schemas.openxmlformats.org/officeDocument/2006/relationships/slideLayout" Target="../slideLayouts/slideLayout88.xml"/><Relationship Id="rId4" Type="http://schemas.openxmlformats.org/officeDocument/2006/relationships/slideLayout" Target="../slideLayouts/slideLayout82.xml"/><Relationship Id="rId9" Type="http://schemas.openxmlformats.org/officeDocument/2006/relationships/slideLayout" Target="../slideLayouts/slideLayout87.xml"/><Relationship Id="rId14" Type="http://schemas.openxmlformats.org/officeDocument/2006/relationships/slideLayout" Target="../slideLayouts/slideLayout92.xml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7.xml"/><Relationship Id="rId2" Type="http://schemas.openxmlformats.org/officeDocument/2006/relationships/slideLayout" Target="../slideLayouts/slideLayout96.xml"/><Relationship Id="rId1" Type="http://schemas.openxmlformats.org/officeDocument/2006/relationships/slideLayout" Target="../slideLayouts/slideLayout95.xml"/><Relationship Id="rId5" Type="http://schemas.openxmlformats.org/officeDocument/2006/relationships/theme" Target="../theme/theme9.xml"/><Relationship Id="rId4" Type="http://schemas.openxmlformats.org/officeDocument/2006/relationships/slideLayout" Target="../slideLayouts/slideLayout9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226749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61" r:id="rId1"/>
    <p:sldLayoutId id="2147484462" r:id="rId2"/>
    <p:sldLayoutId id="2147484463" r:id="rId3"/>
    <p:sldLayoutId id="2147484464" r:id="rId4"/>
    <p:sldLayoutId id="2147484465" r:id="rId5"/>
    <p:sldLayoutId id="2147484467" r:id="rId6"/>
    <p:sldLayoutId id="2147484469" r:id="rId7"/>
  </p:sldLayoutIdLst>
  <p:hf sldNum="0" hdr="0" ftr="0" dt="0"/>
  <p:txStyles>
    <p:titleStyle>
      <a:lvl1pPr algn="ctr" defTabSz="487710" rtl="0" eaLnBrk="1" latinLnBrk="0" hangingPunct="1">
        <a:spcBef>
          <a:spcPct val="0"/>
        </a:spcBef>
        <a:buNone/>
        <a:defRPr sz="4693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5782" indent="-365782" algn="l" defTabSz="487710" rtl="0" eaLnBrk="1" latinLnBrk="0" hangingPunct="1">
        <a:spcBef>
          <a:spcPct val="20000"/>
        </a:spcBef>
        <a:buFont typeface="Arial"/>
        <a:buChar char="•"/>
        <a:defRPr sz="3413" kern="1200">
          <a:solidFill>
            <a:schemeClr val="tx1"/>
          </a:solidFill>
          <a:latin typeface="+mn-lt"/>
          <a:ea typeface="+mn-ea"/>
          <a:cs typeface="+mn-cs"/>
        </a:defRPr>
      </a:lvl1pPr>
      <a:lvl2pPr marL="792529" indent="-304819" algn="l" defTabSz="487710" rtl="0" eaLnBrk="1" latinLnBrk="0" hangingPunct="1">
        <a:spcBef>
          <a:spcPct val="20000"/>
        </a:spcBef>
        <a:buFont typeface="Arial"/>
        <a:buChar char="–"/>
        <a:defRPr sz="2987" kern="1200">
          <a:solidFill>
            <a:schemeClr val="tx1"/>
          </a:solidFill>
          <a:latin typeface="+mn-lt"/>
          <a:ea typeface="+mn-ea"/>
          <a:cs typeface="+mn-cs"/>
        </a:defRPr>
      </a:lvl2pPr>
      <a:lvl3pPr marL="1219277" indent="-243856" algn="l" defTabSz="487710" rtl="0" eaLnBrk="1" latinLnBrk="0" hangingPunct="1">
        <a:spcBef>
          <a:spcPct val="20000"/>
        </a:spcBef>
        <a:buFont typeface="Arial"/>
        <a:buChar char="•"/>
        <a:defRPr sz="2560" kern="1200">
          <a:solidFill>
            <a:schemeClr val="tx1"/>
          </a:solidFill>
          <a:latin typeface="+mn-lt"/>
          <a:ea typeface="+mn-ea"/>
          <a:cs typeface="+mn-cs"/>
        </a:defRPr>
      </a:lvl3pPr>
      <a:lvl4pPr marL="1706987" indent="-243856" algn="l" defTabSz="487710" rtl="0" eaLnBrk="1" latinLnBrk="0" hangingPunct="1">
        <a:spcBef>
          <a:spcPct val="20000"/>
        </a:spcBef>
        <a:buFont typeface="Arial"/>
        <a:buChar char="–"/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94698" indent="-243856" algn="l" defTabSz="487710" rtl="0" eaLnBrk="1" latinLnBrk="0" hangingPunct="1">
        <a:spcBef>
          <a:spcPct val="20000"/>
        </a:spcBef>
        <a:buFont typeface="Arial"/>
        <a:buChar char="»"/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682408" indent="-243856" algn="l" defTabSz="487710" rtl="0" eaLnBrk="1" latinLnBrk="0" hangingPunct="1">
        <a:spcBef>
          <a:spcPct val="20000"/>
        </a:spcBef>
        <a:buFont typeface="Arial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170118" indent="-243856" algn="l" defTabSz="487710" rtl="0" eaLnBrk="1" latinLnBrk="0" hangingPunct="1">
        <a:spcBef>
          <a:spcPct val="20000"/>
        </a:spcBef>
        <a:buFont typeface="Arial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657828" indent="-243856" algn="l" defTabSz="487710" rtl="0" eaLnBrk="1" latinLnBrk="0" hangingPunct="1">
        <a:spcBef>
          <a:spcPct val="20000"/>
        </a:spcBef>
        <a:buFont typeface="Arial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145540" indent="-243856" algn="l" defTabSz="487710" rtl="0" eaLnBrk="1" latinLnBrk="0" hangingPunct="1">
        <a:spcBef>
          <a:spcPct val="20000"/>
        </a:spcBef>
        <a:buFont typeface="Arial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8771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1pPr>
      <a:lvl2pPr marL="487710" algn="l" defTabSz="48771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2pPr>
      <a:lvl3pPr marL="975420" algn="l" defTabSz="48771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3pPr>
      <a:lvl4pPr marL="1463132" algn="l" defTabSz="48771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4pPr>
      <a:lvl5pPr marL="1950842" algn="l" defTabSz="48771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5pPr>
      <a:lvl6pPr marL="2438552" algn="l" defTabSz="48771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6pPr>
      <a:lvl7pPr marL="2926262" algn="l" defTabSz="48771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7pPr>
      <a:lvl8pPr marL="3413973" algn="l" defTabSz="48771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8pPr>
      <a:lvl9pPr marL="3901684" algn="l" defTabSz="48771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198681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3" r:id="rId1"/>
    <p:sldLayoutId id="2147483663" r:id="rId2"/>
    <p:sldLayoutId id="2147483664" r:id="rId3"/>
    <p:sldLayoutId id="2147483665" r:id="rId4"/>
  </p:sldLayoutIdLst>
  <p:txStyles>
    <p:titleStyle>
      <a:lvl1pPr algn="ctr" defTabSz="487695" rtl="0" eaLnBrk="1" latinLnBrk="0" hangingPunct="1">
        <a:spcBef>
          <a:spcPct val="0"/>
        </a:spcBef>
        <a:buNone/>
        <a:defRPr sz="4693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5771" indent="-365771" algn="l" defTabSz="487695" rtl="0" eaLnBrk="1" latinLnBrk="0" hangingPunct="1">
        <a:spcBef>
          <a:spcPct val="20000"/>
        </a:spcBef>
        <a:buFont typeface="Arial"/>
        <a:buChar char="•"/>
        <a:defRPr sz="3413" kern="1200">
          <a:solidFill>
            <a:schemeClr val="tx1"/>
          </a:solidFill>
          <a:latin typeface="+mn-lt"/>
          <a:ea typeface="+mn-ea"/>
          <a:cs typeface="+mn-cs"/>
        </a:defRPr>
      </a:lvl1pPr>
      <a:lvl2pPr marL="792505" indent="-304810" algn="l" defTabSz="487695" rtl="0" eaLnBrk="1" latinLnBrk="0" hangingPunct="1">
        <a:spcBef>
          <a:spcPct val="20000"/>
        </a:spcBef>
        <a:buFont typeface="Arial"/>
        <a:buChar char="–"/>
        <a:defRPr sz="2987" kern="1200">
          <a:solidFill>
            <a:schemeClr val="tx1"/>
          </a:solidFill>
          <a:latin typeface="+mn-lt"/>
          <a:ea typeface="+mn-ea"/>
          <a:cs typeface="+mn-cs"/>
        </a:defRPr>
      </a:lvl2pPr>
      <a:lvl3pPr marL="1219238" indent="-243848" algn="l" defTabSz="487695" rtl="0" eaLnBrk="1" latinLnBrk="0" hangingPunct="1">
        <a:spcBef>
          <a:spcPct val="20000"/>
        </a:spcBef>
        <a:buFont typeface="Arial"/>
        <a:buChar char="•"/>
        <a:defRPr sz="2560" kern="1200">
          <a:solidFill>
            <a:schemeClr val="tx1"/>
          </a:solidFill>
          <a:latin typeface="+mn-lt"/>
          <a:ea typeface="+mn-ea"/>
          <a:cs typeface="+mn-cs"/>
        </a:defRPr>
      </a:lvl3pPr>
      <a:lvl4pPr marL="1706933" indent="-243848" algn="l" defTabSz="487695" rtl="0" eaLnBrk="1" latinLnBrk="0" hangingPunct="1">
        <a:spcBef>
          <a:spcPct val="20000"/>
        </a:spcBef>
        <a:buFont typeface="Arial"/>
        <a:buChar char="–"/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94629" indent="-243848" algn="l" defTabSz="487695" rtl="0" eaLnBrk="1" latinLnBrk="0" hangingPunct="1">
        <a:spcBef>
          <a:spcPct val="20000"/>
        </a:spcBef>
        <a:buFont typeface="Arial"/>
        <a:buChar char="»"/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682324" indent="-243848" algn="l" defTabSz="487695" rtl="0" eaLnBrk="1" latinLnBrk="0" hangingPunct="1">
        <a:spcBef>
          <a:spcPct val="20000"/>
        </a:spcBef>
        <a:buFont typeface="Arial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170019" indent="-243848" algn="l" defTabSz="487695" rtl="0" eaLnBrk="1" latinLnBrk="0" hangingPunct="1">
        <a:spcBef>
          <a:spcPct val="20000"/>
        </a:spcBef>
        <a:buFont typeface="Arial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657714" indent="-243848" algn="l" defTabSz="487695" rtl="0" eaLnBrk="1" latinLnBrk="0" hangingPunct="1">
        <a:spcBef>
          <a:spcPct val="20000"/>
        </a:spcBef>
        <a:buFont typeface="Arial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145410" indent="-243848" algn="l" defTabSz="487695" rtl="0" eaLnBrk="1" latinLnBrk="0" hangingPunct="1">
        <a:spcBef>
          <a:spcPct val="20000"/>
        </a:spcBef>
        <a:buFont typeface="Arial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87695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1pPr>
      <a:lvl2pPr marL="487695" algn="l" defTabSz="487695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2pPr>
      <a:lvl3pPr marL="975390" algn="l" defTabSz="487695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3pPr>
      <a:lvl4pPr marL="1463086" algn="l" defTabSz="487695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4pPr>
      <a:lvl5pPr marL="1950781" algn="l" defTabSz="487695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5pPr>
      <a:lvl6pPr marL="2438476" algn="l" defTabSz="487695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6pPr>
      <a:lvl7pPr marL="2926171" algn="l" defTabSz="487695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7pPr>
      <a:lvl8pPr marL="3413867" algn="l" defTabSz="487695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8pPr>
      <a:lvl9pPr marL="3901562" algn="l" defTabSz="487695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9307324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5037" r:id="rId1"/>
    <p:sldLayoutId id="2147485038" r:id="rId2"/>
    <p:sldLayoutId id="2147485039" r:id="rId3"/>
    <p:sldLayoutId id="2147485040" r:id="rId4"/>
    <p:sldLayoutId id="2147485041" r:id="rId5"/>
  </p:sldLayoutIdLst>
  <p:txStyles>
    <p:titleStyle>
      <a:lvl1pPr algn="ctr" defTabSz="650230" rtl="0" eaLnBrk="1" latinLnBrk="0" hangingPunct="1">
        <a:spcBef>
          <a:spcPct val="0"/>
        </a:spcBef>
        <a:buNone/>
        <a:defRPr sz="6258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87672" indent="-487672" algn="l" defTabSz="650230" rtl="0" eaLnBrk="1" latinLnBrk="0" hangingPunct="1">
        <a:spcBef>
          <a:spcPct val="20000"/>
        </a:spcBef>
        <a:buFont typeface="Arial"/>
        <a:buChar char="•"/>
        <a:defRPr sz="4551" kern="1200">
          <a:solidFill>
            <a:schemeClr val="tx1"/>
          </a:solidFill>
          <a:latin typeface="+mn-lt"/>
          <a:ea typeface="+mn-ea"/>
          <a:cs typeface="+mn-cs"/>
        </a:defRPr>
      </a:lvl1pPr>
      <a:lvl2pPr marL="1056623" indent="-406394" algn="l" defTabSz="650230" rtl="0" eaLnBrk="1" latinLnBrk="0" hangingPunct="1">
        <a:spcBef>
          <a:spcPct val="20000"/>
        </a:spcBef>
        <a:buFont typeface="Arial"/>
        <a:buChar char="–"/>
        <a:defRPr sz="3982" kern="1200">
          <a:solidFill>
            <a:schemeClr val="tx1"/>
          </a:solidFill>
          <a:latin typeface="+mn-lt"/>
          <a:ea typeface="+mn-ea"/>
          <a:cs typeface="+mn-cs"/>
        </a:defRPr>
      </a:lvl2pPr>
      <a:lvl3pPr marL="1625575" indent="-325115" algn="l" defTabSz="650230" rtl="0" eaLnBrk="1" latinLnBrk="0" hangingPunct="1">
        <a:spcBef>
          <a:spcPct val="20000"/>
        </a:spcBef>
        <a:buFont typeface="Arial"/>
        <a:buChar char="•"/>
        <a:defRPr sz="3413" kern="1200">
          <a:solidFill>
            <a:schemeClr val="tx1"/>
          </a:solidFill>
          <a:latin typeface="+mn-lt"/>
          <a:ea typeface="+mn-ea"/>
          <a:cs typeface="+mn-cs"/>
        </a:defRPr>
      </a:lvl3pPr>
      <a:lvl4pPr marL="2275804" indent="-325115" algn="l" defTabSz="650230" rtl="0" eaLnBrk="1" latinLnBrk="0" hangingPunct="1">
        <a:spcBef>
          <a:spcPct val="20000"/>
        </a:spcBef>
        <a:buFont typeface="Arial"/>
        <a:buChar char="–"/>
        <a:defRPr sz="2844" kern="1200">
          <a:solidFill>
            <a:schemeClr val="tx1"/>
          </a:solidFill>
          <a:latin typeface="+mn-lt"/>
          <a:ea typeface="+mn-ea"/>
          <a:cs typeface="+mn-cs"/>
        </a:defRPr>
      </a:lvl4pPr>
      <a:lvl5pPr marL="2926034" indent="-325115" algn="l" defTabSz="650230" rtl="0" eaLnBrk="1" latinLnBrk="0" hangingPunct="1">
        <a:spcBef>
          <a:spcPct val="20000"/>
        </a:spcBef>
        <a:buFont typeface="Arial"/>
        <a:buChar char="»"/>
        <a:defRPr sz="2844" kern="1200">
          <a:solidFill>
            <a:schemeClr val="tx1"/>
          </a:solidFill>
          <a:latin typeface="+mn-lt"/>
          <a:ea typeface="+mn-ea"/>
          <a:cs typeface="+mn-cs"/>
        </a:defRPr>
      </a:lvl5pPr>
      <a:lvl6pPr marL="3576264" indent="-325115" algn="l" defTabSz="650230" rtl="0" eaLnBrk="1" latinLnBrk="0" hangingPunct="1">
        <a:spcBef>
          <a:spcPct val="20000"/>
        </a:spcBef>
        <a:buFont typeface="Arial"/>
        <a:buChar char="•"/>
        <a:defRPr sz="2844" kern="1200">
          <a:solidFill>
            <a:schemeClr val="tx1"/>
          </a:solidFill>
          <a:latin typeface="+mn-lt"/>
          <a:ea typeface="+mn-ea"/>
          <a:cs typeface="+mn-cs"/>
        </a:defRPr>
      </a:lvl6pPr>
      <a:lvl7pPr marL="4226494" indent="-325115" algn="l" defTabSz="650230" rtl="0" eaLnBrk="1" latinLnBrk="0" hangingPunct="1">
        <a:spcBef>
          <a:spcPct val="20000"/>
        </a:spcBef>
        <a:buFont typeface="Arial"/>
        <a:buChar char="•"/>
        <a:defRPr sz="2844" kern="1200">
          <a:solidFill>
            <a:schemeClr val="tx1"/>
          </a:solidFill>
          <a:latin typeface="+mn-lt"/>
          <a:ea typeface="+mn-ea"/>
          <a:cs typeface="+mn-cs"/>
        </a:defRPr>
      </a:lvl7pPr>
      <a:lvl8pPr marL="4876724" indent="-325115" algn="l" defTabSz="650230" rtl="0" eaLnBrk="1" latinLnBrk="0" hangingPunct="1">
        <a:spcBef>
          <a:spcPct val="20000"/>
        </a:spcBef>
        <a:buFont typeface="Arial"/>
        <a:buChar char="•"/>
        <a:defRPr sz="2844" kern="1200">
          <a:solidFill>
            <a:schemeClr val="tx1"/>
          </a:solidFill>
          <a:latin typeface="+mn-lt"/>
          <a:ea typeface="+mn-ea"/>
          <a:cs typeface="+mn-cs"/>
        </a:defRPr>
      </a:lvl8pPr>
      <a:lvl9pPr marL="5526954" indent="-325115" algn="l" defTabSz="650230" rtl="0" eaLnBrk="1" latinLnBrk="0" hangingPunct="1">
        <a:spcBef>
          <a:spcPct val="20000"/>
        </a:spcBef>
        <a:buFont typeface="Arial"/>
        <a:buChar char="•"/>
        <a:defRPr sz="284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5023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1pPr>
      <a:lvl2pPr marL="650230" algn="l" defTabSz="65023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2pPr>
      <a:lvl3pPr marL="1300460" algn="l" defTabSz="65023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3pPr>
      <a:lvl4pPr marL="1950690" algn="l" defTabSz="65023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4pPr>
      <a:lvl5pPr marL="2600919" algn="l" defTabSz="65023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5pPr>
      <a:lvl6pPr marL="3251149" algn="l" defTabSz="65023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6pPr>
      <a:lvl7pPr marL="3901379" algn="l" defTabSz="65023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7pPr>
      <a:lvl8pPr marL="4551609" algn="l" defTabSz="65023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8pPr>
      <a:lvl9pPr marL="5201839" algn="l" defTabSz="65023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40C45FE-8937-4A75-9719-1800C6F17F8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924610"/>
            <a:ext cx="2926080" cy="39059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80">
                <a:solidFill>
                  <a:srgbClr val="33006F"/>
                </a:solidFill>
              </a:defRPr>
            </a:lvl1pPr>
          </a:lstStyle>
          <a:p>
            <a:fld id="{93E8EAA6-CCD6-4D76-BEB9-BF301FD6F11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9956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43" r:id="rId1"/>
    <p:sldLayoutId id="2147485044" r:id="rId2"/>
    <p:sldLayoutId id="2147485045" r:id="rId3"/>
    <p:sldLayoutId id="2147485046" r:id="rId4"/>
    <p:sldLayoutId id="2147485047" r:id="rId5"/>
    <p:sldLayoutId id="2147485048" r:id="rId6"/>
    <p:sldLayoutId id="2147485049" r:id="rId7"/>
    <p:sldLayoutId id="2147485050" r:id="rId8"/>
    <p:sldLayoutId id="2147485051" r:id="rId9"/>
    <p:sldLayoutId id="2147485052" r:id="rId10"/>
    <p:sldLayoutId id="2147485053" r:id="rId11"/>
    <p:sldLayoutId id="2147485054" r:id="rId12"/>
    <p:sldLayoutId id="2147485055" r:id="rId13"/>
    <p:sldLayoutId id="2147485056" r:id="rId14"/>
    <p:sldLayoutId id="2147485057" r:id="rId15"/>
    <p:sldLayoutId id="2147485058" r:id="rId16"/>
    <p:sldLayoutId id="2147485059" r:id="rId17"/>
    <p:sldLayoutId id="2147485060" r:id="rId18"/>
    <p:sldLayoutId id="2147485061" r:id="rId19"/>
    <p:sldLayoutId id="2147485062" r:id="rId20"/>
    <p:sldLayoutId id="2147485063" r:id="rId21"/>
    <p:sldLayoutId id="2147485064" r:id="rId22"/>
    <p:sldLayoutId id="2147485065" r:id="rId23"/>
    <p:sldLayoutId id="2147485066" r:id="rId24"/>
    <p:sldLayoutId id="2147485067" r:id="rId25"/>
    <p:sldLayoutId id="2147485068" r:id="rId26"/>
    <p:sldLayoutId id="2147485069" r:id="rId27"/>
    <p:sldLayoutId id="2147485070" r:id="rId28"/>
    <p:sldLayoutId id="2147485071" r:id="rId29"/>
    <p:sldLayoutId id="2147485072" r:id="rId30"/>
    <p:sldLayoutId id="2147485073" r:id="rId31"/>
  </p:sldLayoutIdLst>
  <p:hf hdr="0" ftr="0" dt="0"/>
  <p:txStyles>
    <p:titleStyle>
      <a:lvl1pPr algn="ctr" defTabSz="487637" rtl="0" eaLnBrk="1" latinLnBrk="0" hangingPunct="1">
        <a:spcBef>
          <a:spcPct val="0"/>
        </a:spcBef>
        <a:buNone/>
        <a:defRPr sz="4693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5727" indent="-365727" algn="l" defTabSz="487637" rtl="0" eaLnBrk="1" latinLnBrk="0" hangingPunct="1">
        <a:spcBef>
          <a:spcPct val="20000"/>
        </a:spcBef>
        <a:buFont typeface="Arial"/>
        <a:buChar char="•"/>
        <a:defRPr sz="3413" kern="1200">
          <a:solidFill>
            <a:schemeClr val="tx1"/>
          </a:solidFill>
          <a:latin typeface="+mn-lt"/>
          <a:ea typeface="+mn-ea"/>
          <a:cs typeface="+mn-cs"/>
        </a:defRPr>
      </a:lvl1pPr>
      <a:lvl2pPr marL="792409" indent="-304773" algn="l" defTabSz="487637" rtl="0" eaLnBrk="1" latinLnBrk="0" hangingPunct="1">
        <a:spcBef>
          <a:spcPct val="20000"/>
        </a:spcBef>
        <a:buFont typeface="Arial"/>
        <a:buChar char="–"/>
        <a:defRPr sz="2987" kern="1200">
          <a:solidFill>
            <a:schemeClr val="tx1"/>
          </a:solidFill>
          <a:latin typeface="+mn-lt"/>
          <a:ea typeface="+mn-ea"/>
          <a:cs typeface="+mn-cs"/>
        </a:defRPr>
      </a:lvl2pPr>
      <a:lvl3pPr marL="1219090" indent="-243818" algn="l" defTabSz="487637" rtl="0" eaLnBrk="1" latinLnBrk="0" hangingPunct="1">
        <a:spcBef>
          <a:spcPct val="20000"/>
        </a:spcBef>
        <a:buFont typeface="Arial"/>
        <a:buChar char="•"/>
        <a:defRPr sz="2560" kern="1200">
          <a:solidFill>
            <a:schemeClr val="tx1"/>
          </a:solidFill>
          <a:latin typeface="+mn-lt"/>
          <a:ea typeface="+mn-ea"/>
          <a:cs typeface="+mn-cs"/>
        </a:defRPr>
      </a:lvl3pPr>
      <a:lvl4pPr marL="1706724" indent="-243818" algn="l" defTabSz="487637" rtl="0" eaLnBrk="1" latinLnBrk="0" hangingPunct="1">
        <a:spcBef>
          <a:spcPct val="20000"/>
        </a:spcBef>
        <a:buFont typeface="Arial"/>
        <a:buChar char="–"/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94358" indent="-243818" algn="l" defTabSz="487637" rtl="0" eaLnBrk="1" latinLnBrk="0" hangingPunct="1">
        <a:spcBef>
          <a:spcPct val="20000"/>
        </a:spcBef>
        <a:buFont typeface="Arial"/>
        <a:buChar char="»"/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681993" indent="-243818" algn="l" defTabSz="487637" rtl="0" eaLnBrk="1" latinLnBrk="0" hangingPunct="1">
        <a:spcBef>
          <a:spcPct val="20000"/>
        </a:spcBef>
        <a:buFont typeface="Arial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169630" indent="-243818" algn="l" defTabSz="487637" rtl="0" eaLnBrk="1" latinLnBrk="0" hangingPunct="1">
        <a:spcBef>
          <a:spcPct val="20000"/>
        </a:spcBef>
        <a:buFont typeface="Arial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657264" indent="-243818" algn="l" defTabSz="487637" rtl="0" eaLnBrk="1" latinLnBrk="0" hangingPunct="1">
        <a:spcBef>
          <a:spcPct val="20000"/>
        </a:spcBef>
        <a:buFont typeface="Arial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144900" indent="-243818" algn="l" defTabSz="487637" rtl="0" eaLnBrk="1" latinLnBrk="0" hangingPunct="1">
        <a:spcBef>
          <a:spcPct val="20000"/>
        </a:spcBef>
        <a:buFont typeface="Arial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87637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1pPr>
      <a:lvl2pPr marL="487637" algn="l" defTabSz="487637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2pPr>
      <a:lvl3pPr marL="975271" algn="l" defTabSz="487637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3pPr>
      <a:lvl4pPr marL="1462906" algn="l" defTabSz="487637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4pPr>
      <a:lvl5pPr marL="1950542" algn="l" defTabSz="487637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5pPr>
      <a:lvl6pPr marL="2438177" algn="l" defTabSz="487637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6pPr>
      <a:lvl7pPr marL="2925812" algn="l" defTabSz="487637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7pPr>
      <a:lvl8pPr marL="3413446" algn="l" defTabSz="487637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8pPr>
      <a:lvl9pPr marL="3901083" algn="l" defTabSz="487637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923879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76" r:id="rId1"/>
    <p:sldLayoutId id="2147485077" r:id="rId2"/>
    <p:sldLayoutId id="2147485078" r:id="rId3"/>
    <p:sldLayoutId id="2147485079" r:id="rId4"/>
    <p:sldLayoutId id="2147485080" r:id="rId5"/>
  </p:sldLayoutIdLst>
  <p:txStyles>
    <p:titleStyle>
      <a:lvl1pPr algn="ctr" defTabSz="650230" rtl="0" eaLnBrk="1" latinLnBrk="0" hangingPunct="1">
        <a:spcBef>
          <a:spcPct val="0"/>
        </a:spcBef>
        <a:buNone/>
        <a:defRPr sz="6258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87672" indent="-487672" algn="l" defTabSz="650230" rtl="0" eaLnBrk="1" latinLnBrk="0" hangingPunct="1">
        <a:spcBef>
          <a:spcPct val="20000"/>
        </a:spcBef>
        <a:buFont typeface="Arial"/>
        <a:buChar char="•"/>
        <a:defRPr sz="4551" kern="1200">
          <a:solidFill>
            <a:schemeClr val="tx1"/>
          </a:solidFill>
          <a:latin typeface="+mn-lt"/>
          <a:ea typeface="+mn-ea"/>
          <a:cs typeface="+mn-cs"/>
        </a:defRPr>
      </a:lvl1pPr>
      <a:lvl2pPr marL="1056623" indent="-406394" algn="l" defTabSz="650230" rtl="0" eaLnBrk="1" latinLnBrk="0" hangingPunct="1">
        <a:spcBef>
          <a:spcPct val="20000"/>
        </a:spcBef>
        <a:buFont typeface="Arial"/>
        <a:buChar char="–"/>
        <a:defRPr sz="3982" kern="1200">
          <a:solidFill>
            <a:schemeClr val="tx1"/>
          </a:solidFill>
          <a:latin typeface="+mn-lt"/>
          <a:ea typeface="+mn-ea"/>
          <a:cs typeface="+mn-cs"/>
        </a:defRPr>
      </a:lvl2pPr>
      <a:lvl3pPr marL="1625575" indent="-325115" algn="l" defTabSz="650230" rtl="0" eaLnBrk="1" latinLnBrk="0" hangingPunct="1">
        <a:spcBef>
          <a:spcPct val="20000"/>
        </a:spcBef>
        <a:buFont typeface="Arial"/>
        <a:buChar char="•"/>
        <a:defRPr sz="3413" kern="1200">
          <a:solidFill>
            <a:schemeClr val="tx1"/>
          </a:solidFill>
          <a:latin typeface="+mn-lt"/>
          <a:ea typeface="+mn-ea"/>
          <a:cs typeface="+mn-cs"/>
        </a:defRPr>
      </a:lvl3pPr>
      <a:lvl4pPr marL="2275804" indent="-325115" algn="l" defTabSz="650230" rtl="0" eaLnBrk="1" latinLnBrk="0" hangingPunct="1">
        <a:spcBef>
          <a:spcPct val="20000"/>
        </a:spcBef>
        <a:buFont typeface="Arial"/>
        <a:buChar char="–"/>
        <a:defRPr sz="2844" kern="1200">
          <a:solidFill>
            <a:schemeClr val="tx1"/>
          </a:solidFill>
          <a:latin typeface="+mn-lt"/>
          <a:ea typeface="+mn-ea"/>
          <a:cs typeface="+mn-cs"/>
        </a:defRPr>
      </a:lvl4pPr>
      <a:lvl5pPr marL="2926034" indent="-325115" algn="l" defTabSz="650230" rtl="0" eaLnBrk="1" latinLnBrk="0" hangingPunct="1">
        <a:spcBef>
          <a:spcPct val="20000"/>
        </a:spcBef>
        <a:buFont typeface="Arial"/>
        <a:buChar char="»"/>
        <a:defRPr sz="2844" kern="1200">
          <a:solidFill>
            <a:schemeClr val="tx1"/>
          </a:solidFill>
          <a:latin typeface="+mn-lt"/>
          <a:ea typeface="+mn-ea"/>
          <a:cs typeface="+mn-cs"/>
        </a:defRPr>
      </a:lvl5pPr>
      <a:lvl6pPr marL="3576264" indent="-325115" algn="l" defTabSz="650230" rtl="0" eaLnBrk="1" latinLnBrk="0" hangingPunct="1">
        <a:spcBef>
          <a:spcPct val="20000"/>
        </a:spcBef>
        <a:buFont typeface="Arial"/>
        <a:buChar char="•"/>
        <a:defRPr sz="2844" kern="1200">
          <a:solidFill>
            <a:schemeClr val="tx1"/>
          </a:solidFill>
          <a:latin typeface="+mn-lt"/>
          <a:ea typeface="+mn-ea"/>
          <a:cs typeface="+mn-cs"/>
        </a:defRPr>
      </a:lvl6pPr>
      <a:lvl7pPr marL="4226494" indent="-325115" algn="l" defTabSz="650230" rtl="0" eaLnBrk="1" latinLnBrk="0" hangingPunct="1">
        <a:spcBef>
          <a:spcPct val="20000"/>
        </a:spcBef>
        <a:buFont typeface="Arial"/>
        <a:buChar char="•"/>
        <a:defRPr sz="2844" kern="1200">
          <a:solidFill>
            <a:schemeClr val="tx1"/>
          </a:solidFill>
          <a:latin typeface="+mn-lt"/>
          <a:ea typeface="+mn-ea"/>
          <a:cs typeface="+mn-cs"/>
        </a:defRPr>
      </a:lvl7pPr>
      <a:lvl8pPr marL="4876724" indent="-325115" algn="l" defTabSz="650230" rtl="0" eaLnBrk="1" latinLnBrk="0" hangingPunct="1">
        <a:spcBef>
          <a:spcPct val="20000"/>
        </a:spcBef>
        <a:buFont typeface="Arial"/>
        <a:buChar char="•"/>
        <a:defRPr sz="2844" kern="1200">
          <a:solidFill>
            <a:schemeClr val="tx1"/>
          </a:solidFill>
          <a:latin typeface="+mn-lt"/>
          <a:ea typeface="+mn-ea"/>
          <a:cs typeface="+mn-cs"/>
        </a:defRPr>
      </a:lvl8pPr>
      <a:lvl9pPr marL="5526954" indent="-325115" algn="l" defTabSz="650230" rtl="0" eaLnBrk="1" latinLnBrk="0" hangingPunct="1">
        <a:spcBef>
          <a:spcPct val="20000"/>
        </a:spcBef>
        <a:buFont typeface="Arial"/>
        <a:buChar char="•"/>
        <a:defRPr sz="284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5023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1pPr>
      <a:lvl2pPr marL="650230" algn="l" defTabSz="65023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2pPr>
      <a:lvl3pPr marL="1300460" algn="l" defTabSz="65023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3pPr>
      <a:lvl4pPr marL="1950690" algn="l" defTabSz="65023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4pPr>
      <a:lvl5pPr marL="2600919" algn="l" defTabSz="65023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5pPr>
      <a:lvl6pPr marL="3251149" algn="l" defTabSz="65023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6pPr>
      <a:lvl7pPr marL="3901379" algn="l" defTabSz="65023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7pPr>
      <a:lvl8pPr marL="4551609" algn="l" defTabSz="65023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8pPr>
      <a:lvl9pPr marL="5201839" algn="l" defTabSz="65023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267011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34" r:id="rId1"/>
    <p:sldLayoutId id="2147484535" r:id="rId2"/>
    <p:sldLayoutId id="2147484536" r:id="rId3"/>
    <p:sldLayoutId id="2147484537" r:id="rId4"/>
    <p:sldLayoutId id="2147484538" r:id="rId5"/>
    <p:sldLayoutId id="2147484539" r:id="rId6"/>
    <p:sldLayoutId id="2147484955" r:id="rId7"/>
  </p:sldLayoutIdLst>
  <p:txStyles>
    <p:titleStyle>
      <a:lvl1pPr algn="ctr" defTabSz="650244" rtl="0" eaLnBrk="1" latinLnBrk="0" hangingPunct="1">
        <a:spcBef>
          <a:spcPct val="0"/>
        </a:spcBef>
        <a:buNone/>
        <a:defRPr sz="6258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87684" indent="-487684" algn="l" defTabSz="650244" rtl="0" eaLnBrk="1" latinLnBrk="0" hangingPunct="1">
        <a:spcBef>
          <a:spcPct val="20000"/>
        </a:spcBef>
        <a:buFont typeface="Arial"/>
        <a:buChar char="•"/>
        <a:defRPr sz="4552" kern="1200">
          <a:solidFill>
            <a:schemeClr val="tx1"/>
          </a:solidFill>
          <a:latin typeface="+mn-lt"/>
          <a:ea typeface="+mn-ea"/>
          <a:cs typeface="+mn-cs"/>
        </a:defRPr>
      </a:lvl1pPr>
      <a:lvl2pPr marL="1056646" indent="-406402" algn="l" defTabSz="650244" rtl="0" eaLnBrk="1" latinLnBrk="0" hangingPunct="1">
        <a:spcBef>
          <a:spcPct val="20000"/>
        </a:spcBef>
        <a:buFont typeface="Arial"/>
        <a:buChar char="–"/>
        <a:defRPr sz="3982" kern="1200">
          <a:solidFill>
            <a:schemeClr val="tx1"/>
          </a:solidFill>
          <a:latin typeface="+mn-lt"/>
          <a:ea typeface="+mn-ea"/>
          <a:cs typeface="+mn-cs"/>
        </a:defRPr>
      </a:lvl2pPr>
      <a:lvl3pPr marL="1625610" indent="-325122" algn="l" defTabSz="650244" rtl="0" eaLnBrk="1" latinLnBrk="0" hangingPunct="1">
        <a:spcBef>
          <a:spcPct val="20000"/>
        </a:spcBef>
        <a:buFont typeface="Arial"/>
        <a:buChar char="•"/>
        <a:defRPr sz="3413" kern="1200">
          <a:solidFill>
            <a:schemeClr val="tx1"/>
          </a:solidFill>
          <a:latin typeface="+mn-lt"/>
          <a:ea typeface="+mn-ea"/>
          <a:cs typeface="+mn-cs"/>
        </a:defRPr>
      </a:lvl3pPr>
      <a:lvl4pPr marL="2275855" indent="-325122" algn="l" defTabSz="650244" rtl="0" eaLnBrk="1" latinLnBrk="0" hangingPunct="1">
        <a:spcBef>
          <a:spcPct val="20000"/>
        </a:spcBef>
        <a:buFont typeface="Arial"/>
        <a:buChar char="–"/>
        <a:defRPr sz="2845" kern="1200">
          <a:solidFill>
            <a:schemeClr val="tx1"/>
          </a:solidFill>
          <a:latin typeface="+mn-lt"/>
          <a:ea typeface="+mn-ea"/>
          <a:cs typeface="+mn-cs"/>
        </a:defRPr>
      </a:lvl4pPr>
      <a:lvl5pPr marL="2926098" indent="-325122" algn="l" defTabSz="650244" rtl="0" eaLnBrk="1" latinLnBrk="0" hangingPunct="1">
        <a:spcBef>
          <a:spcPct val="20000"/>
        </a:spcBef>
        <a:buFont typeface="Arial"/>
        <a:buChar char="»"/>
        <a:defRPr sz="2845" kern="1200">
          <a:solidFill>
            <a:schemeClr val="tx1"/>
          </a:solidFill>
          <a:latin typeface="+mn-lt"/>
          <a:ea typeface="+mn-ea"/>
          <a:cs typeface="+mn-cs"/>
        </a:defRPr>
      </a:lvl5pPr>
      <a:lvl6pPr marL="3576342" indent="-325122" algn="l" defTabSz="650244" rtl="0" eaLnBrk="1" latinLnBrk="0" hangingPunct="1">
        <a:spcBef>
          <a:spcPct val="20000"/>
        </a:spcBef>
        <a:buFont typeface="Arial"/>
        <a:buChar char="•"/>
        <a:defRPr sz="2845" kern="1200">
          <a:solidFill>
            <a:schemeClr val="tx1"/>
          </a:solidFill>
          <a:latin typeface="+mn-lt"/>
          <a:ea typeface="+mn-ea"/>
          <a:cs typeface="+mn-cs"/>
        </a:defRPr>
      </a:lvl6pPr>
      <a:lvl7pPr marL="4226586" indent="-325122" algn="l" defTabSz="650244" rtl="0" eaLnBrk="1" latinLnBrk="0" hangingPunct="1">
        <a:spcBef>
          <a:spcPct val="20000"/>
        </a:spcBef>
        <a:buFont typeface="Arial"/>
        <a:buChar char="•"/>
        <a:defRPr sz="2845" kern="1200">
          <a:solidFill>
            <a:schemeClr val="tx1"/>
          </a:solidFill>
          <a:latin typeface="+mn-lt"/>
          <a:ea typeface="+mn-ea"/>
          <a:cs typeface="+mn-cs"/>
        </a:defRPr>
      </a:lvl7pPr>
      <a:lvl8pPr marL="4876831" indent="-325122" algn="l" defTabSz="650244" rtl="0" eaLnBrk="1" latinLnBrk="0" hangingPunct="1">
        <a:spcBef>
          <a:spcPct val="20000"/>
        </a:spcBef>
        <a:buFont typeface="Arial"/>
        <a:buChar char="•"/>
        <a:defRPr sz="2845" kern="1200">
          <a:solidFill>
            <a:schemeClr val="tx1"/>
          </a:solidFill>
          <a:latin typeface="+mn-lt"/>
          <a:ea typeface="+mn-ea"/>
          <a:cs typeface="+mn-cs"/>
        </a:defRPr>
      </a:lvl8pPr>
      <a:lvl9pPr marL="5527074" indent="-325122" algn="l" defTabSz="650244" rtl="0" eaLnBrk="1" latinLnBrk="0" hangingPunct="1">
        <a:spcBef>
          <a:spcPct val="20000"/>
        </a:spcBef>
        <a:buFont typeface="Arial"/>
        <a:buChar char="•"/>
        <a:defRPr sz="284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5024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1pPr>
      <a:lvl2pPr marL="650244" algn="l" defTabSz="65024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2pPr>
      <a:lvl3pPr marL="1300489" algn="l" defTabSz="65024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3pPr>
      <a:lvl4pPr marL="1950732" algn="l" defTabSz="65024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4pPr>
      <a:lvl5pPr marL="2600976" algn="l" defTabSz="65024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5pPr>
      <a:lvl6pPr marL="3251221" algn="l" defTabSz="65024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6pPr>
      <a:lvl7pPr marL="3901465" algn="l" defTabSz="65024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7pPr>
      <a:lvl8pPr marL="4551708" algn="l" defTabSz="65024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8pPr>
      <a:lvl9pPr marL="5201952" algn="l" defTabSz="65024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121D3EA-3AB1-4B6E-AC62-54110A4B6F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924606"/>
            <a:ext cx="2926080" cy="39059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707">
                <a:solidFill>
                  <a:schemeClr val="tx2"/>
                </a:solidFill>
              </a:defRPr>
            </a:lvl1pPr>
          </a:lstStyle>
          <a:p>
            <a:fld id="{027C5736-9629-47CC-A998-BFA1A1D8E8B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649512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892" r:id="rId1"/>
    <p:sldLayoutId id="2147484893" r:id="rId2"/>
    <p:sldLayoutId id="2147484894" r:id="rId3"/>
    <p:sldLayoutId id="2147484895" r:id="rId4"/>
    <p:sldLayoutId id="2147484896" r:id="rId5"/>
  </p:sldLayoutIdLst>
  <p:hf hdr="0" ftr="0" dt="0"/>
  <p:txStyles>
    <p:titleStyle>
      <a:lvl1pPr algn="ctr" defTabSz="650230" rtl="0" eaLnBrk="1" latinLnBrk="0" hangingPunct="1">
        <a:spcBef>
          <a:spcPct val="0"/>
        </a:spcBef>
        <a:buNone/>
        <a:defRPr sz="6258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87672" indent="-487672" algn="l" defTabSz="650230" rtl="0" eaLnBrk="1" latinLnBrk="0" hangingPunct="1">
        <a:spcBef>
          <a:spcPct val="20000"/>
        </a:spcBef>
        <a:buFont typeface="Arial"/>
        <a:buChar char="•"/>
        <a:defRPr sz="4551" kern="1200">
          <a:solidFill>
            <a:schemeClr val="tx1"/>
          </a:solidFill>
          <a:latin typeface="+mn-lt"/>
          <a:ea typeface="+mn-ea"/>
          <a:cs typeface="+mn-cs"/>
        </a:defRPr>
      </a:lvl1pPr>
      <a:lvl2pPr marL="1056623" indent="-406394" algn="l" defTabSz="650230" rtl="0" eaLnBrk="1" latinLnBrk="0" hangingPunct="1">
        <a:spcBef>
          <a:spcPct val="20000"/>
        </a:spcBef>
        <a:buFont typeface="Arial"/>
        <a:buChar char="–"/>
        <a:defRPr sz="3982" kern="1200">
          <a:solidFill>
            <a:schemeClr val="tx1"/>
          </a:solidFill>
          <a:latin typeface="+mn-lt"/>
          <a:ea typeface="+mn-ea"/>
          <a:cs typeface="+mn-cs"/>
        </a:defRPr>
      </a:lvl2pPr>
      <a:lvl3pPr marL="1625575" indent="-325115" algn="l" defTabSz="650230" rtl="0" eaLnBrk="1" latinLnBrk="0" hangingPunct="1">
        <a:spcBef>
          <a:spcPct val="20000"/>
        </a:spcBef>
        <a:buFont typeface="Arial"/>
        <a:buChar char="•"/>
        <a:defRPr sz="3413" kern="1200">
          <a:solidFill>
            <a:schemeClr val="tx1"/>
          </a:solidFill>
          <a:latin typeface="+mn-lt"/>
          <a:ea typeface="+mn-ea"/>
          <a:cs typeface="+mn-cs"/>
        </a:defRPr>
      </a:lvl3pPr>
      <a:lvl4pPr marL="2275804" indent="-325115" algn="l" defTabSz="650230" rtl="0" eaLnBrk="1" latinLnBrk="0" hangingPunct="1">
        <a:spcBef>
          <a:spcPct val="20000"/>
        </a:spcBef>
        <a:buFont typeface="Arial"/>
        <a:buChar char="–"/>
        <a:defRPr sz="2844" kern="1200">
          <a:solidFill>
            <a:schemeClr val="tx1"/>
          </a:solidFill>
          <a:latin typeface="+mn-lt"/>
          <a:ea typeface="+mn-ea"/>
          <a:cs typeface="+mn-cs"/>
        </a:defRPr>
      </a:lvl4pPr>
      <a:lvl5pPr marL="2926034" indent="-325115" algn="l" defTabSz="650230" rtl="0" eaLnBrk="1" latinLnBrk="0" hangingPunct="1">
        <a:spcBef>
          <a:spcPct val="20000"/>
        </a:spcBef>
        <a:buFont typeface="Arial"/>
        <a:buChar char="»"/>
        <a:defRPr sz="2844" kern="1200">
          <a:solidFill>
            <a:schemeClr val="tx1"/>
          </a:solidFill>
          <a:latin typeface="+mn-lt"/>
          <a:ea typeface="+mn-ea"/>
          <a:cs typeface="+mn-cs"/>
        </a:defRPr>
      </a:lvl5pPr>
      <a:lvl6pPr marL="3576264" indent="-325115" algn="l" defTabSz="650230" rtl="0" eaLnBrk="1" latinLnBrk="0" hangingPunct="1">
        <a:spcBef>
          <a:spcPct val="20000"/>
        </a:spcBef>
        <a:buFont typeface="Arial"/>
        <a:buChar char="•"/>
        <a:defRPr sz="2844" kern="1200">
          <a:solidFill>
            <a:schemeClr val="tx1"/>
          </a:solidFill>
          <a:latin typeface="+mn-lt"/>
          <a:ea typeface="+mn-ea"/>
          <a:cs typeface="+mn-cs"/>
        </a:defRPr>
      </a:lvl6pPr>
      <a:lvl7pPr marL="4226494" indent="-325115" algn="l" defTabSz="650230" rtl="0" eaLnBrk="1" latinLnBrk="0" hangingPunct="1">
        <a:spcBef>
          <a:spcPct val="20000"/>
        </a:spcBef>
        <a:buFont typeface="Arial"/>
        <a:buChar char="•"/>
        <a:defRPr sz="2844" kern="1200">
          <a:solidFill>
            <a:schemeClr val="tx1"/>
          </a:solidFill>
          <a:latin typeface="+mn-lt"/>
          <a:ea typeface="+mn-ea"/>
          <a:cs typeface="+mn-cs"/>
        </a:defRPr>
      </a:lvl7pPr>
      <a:lvl8pPr marL="4876724" indent="-325115" algn="l" defTabSz="650230" rtl="0" eaLnBrk="1" latinLnBrk="0" hangingPunct="1">
        <a:spcBef>
          <a:spcPct val="20000"/>
        </a:spcBef>
        <a:buFont typeface="Arial"/>
        <a:buChar char="•"/>
        <a:defRPr sz="2844" kern="1200">
          <a:solidFill>
            <a:schemeClr val="tx1"/>
          </a:solidFill>
          <a:latin typeface="+mn-lt"/>
          <a:ea typeface="+mn-ea"/>
          <a:cs typeface="+mn-cs"/>
        </a:defRPr>
      </a:lvl8pPr>
      <a:lvl9pPr marL="5526954" indent="-325115" algn="l" defTabSz="650230" rtl="0" eaLnBrk="1" latinLnBrk="0" hangingPunct="1">
        <a:spcBef>
          <a:spcPct val="20000"/>
        </a:spcBef>
        <a:buFont typeface="Arial"/>
        <a:buChar char="•"/>
        <a:defRPr sz="284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5023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1pPr>
      <a:lvl2pPr marL="650230" algn="l" defTabSz="65023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2pPr>
      <a:lvl3pPr marL="1300460" algn="l" defTabSz="65023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3pPr>
      <a:lvl4pPr marL="1950690" algn="l" defTabSz="65023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4pPr>
      <a:lvl5pPr marL="2600919" algn="l" defTabSz="65023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5pPr>
      <a:lvl6pPr marL="3251149" algn="l" defTabSz="65023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6pPr>
      <a:lvl7pPr marL="3901379" algn="l" defTabSz="65023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7pPr>
      <a:lvl8pPr marL="4551609" algn="l" defTabSz="65023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8pPr>
      <a:lvl9pPr marL="5201839" algn="l" defTabSz="65023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40C45FE-8937-4A75-9719-1800C6F17F8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924607"/>
            <a:ext cx="2926080" cy="39059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707">
                <a:solidFill>
                  <a:srgbClr val="33006F"/>
                </a:solidFill>
              </a:defRPr>
            </a:lvl1pPr>
          </a:lstStyle>
          <a:p>
            <a:fld id="{93E8EAA6-CCD6-4D76-BEB9-BF301FD6F11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16284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52" r:id="rId1"/>
    <p:sldLayoutId id="2147484954" r:id="rId2"/>
  </p:sldLayoutIdLst>
  <p:hf hdr="0" ftr="0" dt="0"/>
  <p:txStyles>
    <p:titleStyle>
      <a:lvl1pPr algn="ctr" defTabSz="650214" rtl="0" eaLnBrk="1" latinLnBrk="0" hangingPunct="1">
        <a:spcBef>
          <a:spcPct val="0"/>
        </a:spcBef>
        <a:buNone/>
        <a:defRPr sz="6258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87661" indent="-487661" algn="l" defTabSz="650214" rtl="0" eaLnBrk="1" latinLnBrk="0" hangingPunct="1">
        <a:spcBef>
          <a:spcPct val="20000"/>
        </a:spcBef>
        <a:buFont typeface="Arial"/>
        <a:buChar char="•"/>
        <a:defRPr sz="4551" kern="1200">
          <a:solidFill>
            <a:schemeClr val="tx1"/>
          </a:solidFill>
          <a:latin typeface="+mn-lt"/>
          <a:ea typeface="+mn-ea"/>
          <a:cs typeface="+mn-cs"/>
        </a:defRPr>
      </a:lvl1pPr>
      <a:lvl2pPr marL="1056596" indent="-406384" algn="l" defTabSz="650214" rtl="0" eaLnBrk="1" latinLnBrk="0" hangingPunct="1">
        <a:spcBef>
          <a:spcPct val="20000"/>
        </a:spcBef>
        <a:buFont typeface="Arial"/>
        <a:buChar char="–"/>
        <a:defRPr sz="3982" kern="1200">
          <a:solidFill>
            <a:schemeClr val="tx1"/>
          </a:solidFill>
          <a:latin typeface="+mn-lt"/>
          <a:ea typeface="+mn-ea"/>
          <a:cs typeface="+mn-cs"/>
        </a:defRPr>
      </a:lvl2pPr>
      <a:lvl3pPr marL="1625535" indent="-325106" algn="l" defTabSz="650214" rtl="0" eaLnBrk="1" latinLnBrk="0" hangingPunct="1">
        <a:spcBef>
          <a:spcPct val="20000"/>
        </a:spcBef>
        <a:buFont typeface="Arial"/>
        <a:buChar char="•"/>
        <a:defRPr sz="3413" kern="1200">
          <a:solidFill>
            <a:schemeClr val="tx1"/>
          </a:solidFill>
          <a:latin typeface="+mn-lt"/>
          <a:ea typeface="+mn-ea"/>
          <a:cs typeface="+mn-cs"/>
        </a:defRPr>
      </a:lvl3pPr>
      <a:lvl4pPr marL="2275748" indent="-325106" algn="l" defTabSz="650214" rtl="0" eaLnBrk="1" latinLnBrk="0" hangingPunct="1">
        <a:spcBef>
          <a:spcPct val="20000"/>
        </a:spcBef>
        <a:buFont typeface="Arial"/>
        <a:buChar char="–"/>
        <a:defRPr sz="2844" kern="1200">
          <a:solidFill>
            <a:schemeClr val="tx1"/>
          </a:solidFill>
          <a:latin typeface="+mn-lt"/>
          <a:ea typeface="+mn-ea"/>
          <a:cs typeface="+mn-cs"/>
        </a:defRPr>
      </a:lvl4pPr>
      <a:lvl5pPr marL="2925960" indent="-325106" algn="l" defTabSz="650214" rtl="0" eaLnBrk="1" latinLnBrk="0" hangingPunct="1">
        <a:spcBef>
          <a:spcPct val="20000"/>
        </a:spcBef>
        <a:buFont typeface="Arial"/>
        <a:buChar char="»"/>
        <a:defRPr sz="2844" kern="1200">
          <a:solidFill>
            <a:schemeClr val="tx1"/>
          </a:solidFill>
          <a:latin typeface="+mn-lt"/>
          <a:ea typeface="+mn-ea"/>
          <a:cs typeface="+mn-cs"/>
        </a:defRPr>
      </a:lvl5pPr>
      <a:lvl6pPr marL="3576175" indent="-325106" algn="l" defTabSz="650214" rtl="0" eaLnBrk="1" latinLnBrk="0" hangingPunct="1">
        <a:spcBef>
          <a:spcPct val="20000"/>
        </a:spcBef>
        <a:buFont typeface="Arial"/>
        <a:buChar char="•"/>
        <a:defRPr sz="2844" kern="1200">
          <a:solidFill>
            <a:schemeClr val="tx1"/>
          </a:solidFill>
          <a:latin typeface="+mn-lt"/>
          <a:ea typeface="+mn-ea"/>
          <a:cs typeface="+mn-cs"/>
        </a:defRPr>
      </a:lvl6pPr>
      <a:lvl7pPr marL="4226389" indent="-325106" algn="l" defTabSz="650214" rtl="0" eaLnBrk="1" latinLnBrk="0" hangingPunct="1">
        <a:spcBef>
          <a:spcPct val="20000"/>
        </a:spcBef>
        <a:buFont typeface="Arial"/>
        <a:buChar char="•"/>
        <a:defRPr sz="2844" kern="1200">
          <a:solidFill>
            <a:schemeClr val="tx1"/>
          </a:solidFill>
          <a:latin typeface="+mn-lt"/>
          <a:ea typeface="+mn-ea"/>
          <a:cs typeface="+mn-cs"/>
        </a:defRPr>
      </a:lvl7pPr>
      <a:lvl8pPr marL="4876603" indent="-325106" algn="l" defTabSz="650214" rtl="0" eaLnBrk="1" latinLnBrk="0" hangingPunct="1">
        <a:spcBef>
          <a:spcPct val="20000"/>
        </a:spcBef>
        <a:buFont typeface="Arial"/>
        <a:buChar char="•"/>
        <a:defRPr sz="2844" kern="1200">
          <a:solidFill>
            <a:schemeClr val="tx1"/>
          </a:solidFill>
          <a:latin typeface="+mn-lt"/>
          <a:ea typeface="+mn-ea"/>
          <a:cs typeface="+mn-cs"/>
        </a:defRPr>
      </a:lvl8pPr>
      <a:lvl9pPr marL="5526816" indent="-325106" algn="l" defTabSz="650214" rtl="0" eaLnBrk="1" latinLnBrk="0" hangingPunct="1">
        <a:spcBef>
          <a:spcPct val="20000"/>
        </a:spcBef>
        <a:buFont typeface="Arial"/>
        <a:buChar char="•"/>
        <a:defRPr sz="284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5021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1pPr>
      <a:lvl2pPr marL="650214" algn="l" defTabSz="65021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2pPr>
      <a:lvl3pPr marL="1300428" algn="l" defTabSz="65021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3pPr>
      <a:lvl4pPr marL="1950641" algn="l" defTabSz="65021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4pPr>
      <a:lvl5pPr marL="2600854" algn="l" defTabSz="65021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5pPr>
      <a:lvl6pPr marL="3251068" algn="l" defTabSz="65021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6pPr>
      <a:lvl7pPr marL="3901282" algn="l" defTabSz="65021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7pPr>
      <a:lvl8pPr marL="4551495" algn="l" defTabSz="65021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8pPr>
      <a:lvl9pPr marL="5201709" algn="l" defTabSz="65021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D2CD920-680D-4F34-ADA4-C918FD01A78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</p:nvPr>
        </p:nvGraphicFramePr>
        <p:xfrm>
          <a:off x="1695" y="1695"/>
          <a:ext cx="1693" cy="16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524" imgH="526" progId="TCLayout.ActiveDocument.1">
                  <p:embed/>
                </p:oleObj>
              </mc:Choice>
              <mc:Fallback>
                <p:oleObj name="think-cell Slide" r:id="rId14" imgW="524" imgH="5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D2CD920-680D-4F34-ADA4-C918FD01A7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695" y="1695"/>
                        <a:ext cx="1693" cy="169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12387553" y="6922426"/>
            <a:ext cx="453426" cy="38946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CDA41B0-E16D-48B4-8B5D-6BC89192C44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29406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57" r:id="rId1"/>
    <p:sldLayoutId id="2147484958" r:id="rId2"/>
    <p:sldLayoutId id="2147484959" r:id="rId3"/>
    <p:sldLayoutId id="2147484960" r:id="rId4"/>
    <p:sldLayoutId id="2147484961" r:id="rId5"/>
    <p:sldLayoutId id="2147484962" r:id="rId6"/>
    <p:sldLayoutId id="2147484963" r:id="rId7"/>
    <p:sldLayoutId id="2147484965" r:id="rId8"/>
    <p:sldLayoutId id="2147484966" r:id="rId9"/>
    <p:sldLayoutId id="2147485034" r:id="rId10"/>
    <p:sldLayoutId id="2147485035" r:id="rId11"/>
  </p:sldLayoutIdLst>
  <p:hf sldNum="0" hdr="0" ftr="0" dt="0"/>
  <p:txStyles>
    <p:titleStyle>
      <a:lvl1pPr algn="ctr" defTabSz="487710" rtl="0" eaLnBrk="1" latinLnBrk="0" hangingPunct="1">
        <a:spcBef>
          <a:spcPct val="0"/>
        </a:spcBef>
        <a:buNone/>
        <a:defRPr sz="4693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5782" indent="-365782" algn="l" defTabSz="487710" rtl="0" eaLnBrk="1" latinLnBrk="0" hangingPunct="1">
        <a:spcBef>
          <a:spcPct val="20000"/>
        </a:spcBef>
        <a:buFont typeface="Arial"/>
        <a:buChar char="•"/>
        <a:defRPr sz="3413" kern="1200">
          <a:solidFill>
            <a:schemeClr val="tx1"/>
          </a:solidFill>
          <a:latin typeface="+mn-lt"/>
          <a:ea typeface="+mn-ea"/>
          <a:cs typeface="+mn-cs"/>
        </a:defRPr>
      </a:lvl1pPr>
      <a:lvl2pPr marL="792529" indent="-304819" algn="l" defTabSz="487710" rtl="0" eaLnBrk="1" latinLnBrk="0" hangingPunct="1">
        <a:spcBef>
          <a:spcPct val="20000"/>
        </a:spcBef>
        <a:buFont typeface="Arial"/>
        <a:buChar char="–"/>
        <a:defRPr sz="2987" kern="1200">
          <a:solidFill>
            <a:schemeClr val="tx1"/>
          </a:solidFill>
          <a:latin typeface="+mn-lt"/>
          <a:ea typeface="+mn-ea"/>
          <a:cs typeface="+mn-cs"/>
        </a:defRPr>
      </a:lvl2pPr>
      <a:lvl3pPr marL="1219277" indent="-243856" algn="l" defTabSz="487710" rtl="0" eaLnBrk="1" latinLnBrk="0" hangingPunct="1">
        <a:spcBef>
          <a:spcPct val="20000"/>
        </a:spcBef>
        <a:buFont typeface="Arial"/>
        <a:buChar char="•"/>
        <a:defRPr sz="2560" kern="1200">
          <a:solidFill>
            <a:schemeClr val="tx1"/>
          </a:solidFill>
          <a:latin typeface="+mn-lt"/>
          <a:ea typeface="+mn-ea"/>
          <a:cs typeface="+mn-cs"/>
        </a:defRPr>
      </a:lvl3pPr>
      <a:lvl4pPr marL="1706987" indent="-243856" algn="l" defTabSz="487710" rtl="0" eaLnBrk="1" latinLnBrk="0" hangingPunct="1">
        <a:spcBef>
          <a:spcPct val="20000"/>
        </a:spcBef>
        <a:buFont typeface="Arial"/>
        <a:buChar char="–"/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94698" indent="-243856" algn="l" defTabSz="487710" rtl="0" eaLnBrk="1" latinLnBrk="0" hangingPunct="1">
        <a:spcBef>
          <a:spcPct val="20000"/>
        </a:spcBef>
        <a:buFont typeface="Arial"/>
        <a:buChar char="»"/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682408" indent="-243856" algn="l" defTabSz="487710" rtl="0" eaLnBrk="1" latinLnBrk="0" hangingPunct="1">
        <a:spcBef>
          <a:spcPct val="20000"/>
        </a:spcBef>
        <a:buFont typeface="Arial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170118" indent="-243856" algn="l" defTabSz="487710" rtl="0" eaLnBrk="1" latinLnBrk="0" hangingPunct="1">
        <a:spcBef>
          <a:spcPct val="20000"/>
        </a:spcBef>
        <a:buFont typeface="Arial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657828" indent="-243856" algn="l" defTabSz="487710" rtl="0" eaLnBrk="1" latinLnBrk="0" hangingPunct="1">
        <a:spcBef>
          <a:spcPct val="20000"/>
        </a:spcBef>
        <a:buFont typeface="Arial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145540" indent="-243856" algn="l" defTabSz="487710" rtl="0" eaLnBrk="1" latinLnBrk="0" hangingPunct="1">
        <a:spcBef>
          <a:spcPct val="20000"/>
        </a:spcBef>
        <a:buFont typeface="Arial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8771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1pPr>
      <a:lvl2pPr marL="487710" algn="l" defTabSz="48771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2pPr>
      <a:lvl3pPr marL="975420" algn="l" defTabSz="48771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3pPr>
      <a:lvl4pPr marL="1463132" algn="l" defTabSz="48771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4pPr>
      <a:lvl5pPr marL="1950842" algn="l" defTabSz="48771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5pPr>
      <a:lvl6pPr marL="2438552" algn="l" defTabSz="48771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6pPr>
      <a:lvl7pPr marL="2926262" algn="l" defTabSz="48771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7pPr>
      <a:lvl8pPr marL="3413973" algn="l" defTabSz="48771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8pPr>
      <a:lvl9pPr marL="3901684" algn="l" defTabSz="48771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40C45FE-8937-4A75-9719-1800C6F17F8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924609"/>
            <a:ext cx="2926080" cy="39059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707">
                <a:solidFill>
                  <a:srgbClr val="33006F"/>
                </a:solidFill>
              </a:defRPr>
            </a:lvl1pPr>
          </a:lstStyle>
          <a:p>
            <a:fld id="{93E8EAA6-CCD6-4D76-BEB9-BF301FD6F11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97351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68" r:id="rId1"/>
    <p:sldLayoutId id="2147484969" r:id="rId2"/>
    <p:sldLayoutId id="2147484971" r:id="rId3"/>
    <p:sldLayoutId id="2147484972" r:id="rId4"/>
    <p:sldLayoutId id="2147484973" r:id="rId5"/>
    <p:sldLayoutId id="2147484974" r:id="rId6"/>
    <p:sldLayoutId id="2147484975" r:id="rId7"/>
    <p:sldLayoutId id="2147484976" r:id="rId8"/>
    <p:sldLayoutId id="2147484977" r:id="rId9"/>
    <p:sldLayoutId id="2147484978" r:id="rId10"/>
    <p:sldLayoutId id="2147484979" r:id="rId11"/>
    <p:sldLayoutId id="2147484980" r:id="rId12"/>
    <p:sldLayoutId id="2147484981" r:id="rId13"/>
    <p:sldLayoutId id="2147484982" r:id="rId14"/>
    <p:sldLayoutId id="2147484983" r:id="rId15"/>
    <p:sldLayoutId id="2147484984" r:id="rId16"/>
    <p:sldLayoutId id="2147484985" r:id="rId17"/>
    <p:sldLayoutId id="2147484986" r:id="rId18"/>
    <p:sldLayoutId id="2147484987" r:id="rId19"/>
    <p:sldLayoutId id="2147484988" r:id="rId20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ctr" defTabSz="650214" rtl="0" eaLnBrk="1" latinLnBrk="0" hangingPunct="1">
        <a:spcBef>
          <a:spcPct val="0"/>
        </a:spcBef>
        <a:buNone/>
        <a:defRPr sz="6258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87661" indent="-487661" algn="l" defTabSz="650214" rtl="0" eaLnBrk="1" latinLnBrk="0" hangingPunct="1">
        <a:spcBef>
          <a:spcPct val="20000"/>
        </a:spcBef>
        <a:buFont typeface="Arial"/>
        <a:buChar char="•"/>
        <a:defRPr sz="4551" kern="1200">
          <a:solidFill>
            <a:schemeClr val="tx1"/>
          </a:solidFill>
          <a:latin typeface="+mn-lt"/>
          <a:ea typeface="+mn-ea"/>
          <a:cs typeface="+mn-cs"/>
        </a:defRPr>
      </a:lvl1pPr>
      <a:lvl2pPr marL="1056596" indent="-406384" algn="l" defTabSz="650214" rtl="0" eaLnBrk="1" latinLnBrk="0" hangingPunct="1">
        <a:spcBef>
          <a:spcPct val="20000"/>
        </a:spcBef>
        <a:buFont typeface="Arial"/>
        <a:buChar char="–"/>
        <a:defRPr sz="3982" kern="1200">
          <a:solidFill>
            <a:schemeClr val="tx1"/>
          </a:solidFill>
          <a:latin typeface="+mn-lt"/>
          <a:ea typeface="+mn-ea"/>
          <a:cs typeface="+mn-cs"/>
        </a:defRPr>
      </a:lvl2pPr>
      <a:lvl3pPr marL="1625535" indent="-325106" algn="l" defTabSz="650214" rtl="0" eaLnBrk="1" latinLnBrk="0" hangingPunct="1">
        <a:spcBef>
          <a:spcPct val="20000"/>
        </a:spcBef>
        <a:buFont typeface="Arial"/>
        <a:buChar char="•"/>
        <a:defRPr sz="3413" kern="1200">
          <a:solidFill>
            <a:schemeClr val="tx1"/>
          </a:solidFill>
          <a:latin typeface="+mn-lt"/>
          <a:ea typeface="+mn-ea"/>
          <a:cs typeface="+mn-cs"/>
        </a:defRPr>
      </a:lvl3pPr>
      <a:lvl4pPr marL="2275748" indent="-325106" algn="l" defTabSz="650214" rtl="0" eaLnBrk="1" latinLnBrk="0" hangingPunct="1">
        <a:spcBef>
          <a:spcPct val="20000"/>
        </a:spcBef>
        <a:buFont typeface="Arial"/>
        <a:buChar char="–"/>
        <a:defRPr sz="2844" kern="1200">
          <a:solidFill>
            <a:schemeClr val="tx1"/>
          </a:solidFill>
          <a:latin typeface="+mn-lt"/>
          <a:ea typeface="+mn-ea"/>
          <a:cs typeface="+mn-cs"/>
        </a:defRPr>
      </a:lvl4pPr>
      <a:lvl5pPr marL="2925960" indent="-325106" algn="l" defTabSz="650214" rtl="0" eaLnBrk="1" latinLnBrk="0" hangingPunct="1">
        <a:spcBef>
          <a:spcPct val="20000"/>
        </a:spcBef>
        <a:buFont typeface="Arial"/>
        <a:buChar char="»"/>
        <a:defRPr sz="2844" kern="1200">
          <a:solidFill>
            <a:schemeClr val="tx1"/>
          </a:solidFill>
          <a:latin typeface="+mn-lt"/>
          <a:ea typeface="+mn-ea"/>
          <a:cs typeface="+mn-cs"/>
        </a:defRPr>
      </a:lvl5pPr>
      <a:lvl6pPr marL="3576175" indent="-325106" algn="l" defTabSz="650214" rtl="0" eaLnBrk="1" latinLnBrk="0" hangingPunct="1">
        <a:spcBef>
          <a:spcPct val="20000"/>
        </a:spcBef>
        <a:buFont typeface="Arial"/>
        <a:buChar char="•"/>
        <a:defRPr sz="2844" kern="1200">
          <a:solidFill>
            <a:schemeClr val="tx1"/>
          </a:solidFill>
          <a:latin typeface="+mn-lt"/>
          <a:ea typeface="+mn-ea"/>
          <a:cs typeface="+mn-cs"/>
        </a:defRPr>
      </a:lvl6pPr>
      <a:lvl7pPr marL="4226389" indent="-325106" algn="l" defTabSz="650214" rtl="0" eaLnBrk="1" latinLnBrk="0" hangingPunct="1">
        <a:spcBef>
          <a:spcPct val="20000"/>
        </a:spcBef>
        <a:buFont typeface="Arial"/>
        <a:buChar char="•"/>
        <a:defRPr sz="2844" kern="1200">
          <a:solidFill>
            <a:schemeClr val="tx1"/>
          </a:solidFill>
          <a:latin typeface="+mn-lt"/>
          <a:ea typeface="+mn-ea"/>
          <a:cs typeface="+mn-cs"/>
        </a:defRPr>
      </a:lvl7pPr>
      <a:lvl8pPr marL="4876603" indent="-325106" algn="l" defTabSz="650214" rtl="0" eaLnBrk="1" latinLnBrk="0" hangingPunct="1">
        <a:spcBef>
          <a:spcPct val="20000"/>
        </a:spcBef>
        <a:buFont typeface="Arial"/>
        <a:buChar char="•"/>
        <a:defRPr sz="2844" kern="1200">
          <a:solidFill>
            <a:schemeClr val="tx1"/>
          </a:solidFill>
          <a:latin typeface="+mn-lt"/>
          <a:ea typeface="+mn-ea"/>
          <a:cs typeface="+mn-cs"/>
        </a:defRPr>
      </a:lvl8pPr>
      <a:lvl9pPr marL="5526816" indent="-325106" algn="l" defTabSz="650214" rtl="0" eaLnBrk="1" latinLnBrk="0" hangingPunct="1">
        <a:spcBef>
          <a:spcPct val="20000"/>
        </a:spcBef>
        <a:buFont typeface="Arial"/>
        <a:buChar char="•"/>
        <a:defRPr sz="284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5021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1pPr>
      <a:lvl2pPr marL="650214" algn="l" defTabSz="65021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2pPr>
      <a:lvl3pPr marL="1300428" algn="l" defTabSz="65021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3pPr>
      <a:lvl4pPr marL="1950641" algn="l" defTabSz="65021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4pPr>
      <a:lvl5pPr marL="2600854" algn="l" defTabSz="65021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5pPr>
      <a:lvl6pPr marL="3251068" algn="l" defTabSz="65021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6pPr>
      <a:lvl7pPr marL="3901282" algn="l" defTabSz="65021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7pPr>
      <a:lvl8pPr marL="4551495" algn="l" defTabSz="65021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8pPr>
      <a:lvl9pPr marL="5201709" algn="l" defTabSz="65021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40C45FE-8937-4A75-9719-1800C6F17F8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924609"/>
            <a:ext cx="2926080" cy="39059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707">
                <a:solidFill>
                  <a:srgbClr val="33006F"/>
                </a:solidFill>
              </a:defRPr>
            </a:lvl1pPr>
          </a:lstStyle>
          <a:p>
            <a:fld id="{93E8EAA6-CCD6-4D76-BEB9-BF301FD6F11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66505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90" r:id="rId1"/>
    <p:sldLayoutId id="2147484991" r:id="rId2"/>
    <p:sldLayoutId id="2147484992" r:id="rId3"/>
    <p:sldLayoutId id="2147484993" r:id="rId4"/>
    <p:sldLayoutId id="2147484994" r:id="rId5"/>
    <p:sldLayoutId id="2147484995" r:id="rId6"/>
    <p:sldLayoutId id="2147484996" r:id="rId7"/>
    <p:sldLayoutId id="2147484997" r:id="rId8"/>
    <p:sldLayoutId id="2147484998" r:id="rId9"/>
    <p:sldLayoutId id="2147484999" r:id="rId10"/>
    <p:sldLayoutId id="2147485000" r:id="rId11"/>
    <p:sldLayoutId id="2147485001" r:id="rId12"/>
    <p:sldLayoutId id="2147485002" r:id="rId13"/>
    <p:sldLayoutId id="2147485003" r:id="rId14"/>
    <p:sldLayoutId id="2147485004" r:id="rId15"/>
    <p:sldLayoutId id="2147485005" r:id="rId16"/>
    <p:sldLayoutId id="2147485006" r:id="rId17"/>
    <p:sldLayoutId id="2147485007" r:id="rId18"/>
    <p:sldLayoutId id="2147485008" r:id="rId19"/>
    <p:sldLayoutId id="2147485009" r:id="rId20"/>
    <p:sldLayoutId id="2147485010" r:id="rId21"/>
    <p:sldLayoutId id="2147485011" r:id="rId22"/>
    <p:sldLayoutId id="2147485012" r:id="rId23"/>
    <p:sldLayoutId id="2147485013" r:id="rId24"/>
    <p:sldLayoutId id="2147485014" r:id="rId25"/>
    <p:sldLayoutId id="2147485015" r:id="rId2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ctr" defTabSz="650214" rtl="0" eaLnBrk="1" latinLnBrk="0" hangingPunct="1">
        <a:spcBef>
          <a:spcPct val="0"/>
        </a:spcBef>
        <a:buNone/>
        <a:defRPr sz="6258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87661" indent="-487661" algn="l" defTabSz="650214" rtl="0" eaLnBrk="1" latinLnBrk="0" hangingPunct="1">
        <a:spcBef>
          <a:spcPct val="20000"/>
        </a:spcBef>
        <a:buFont typeface="Arial"/>
        <a:buChar char="•"/>
        <a:defRPr sz="4551" kern="1200">
          <a:solidFill>
            <a:schemeClr val="tx1"/>
          </a:solidFill>
          <a:latin typeface="+mn-lt"/>
          <a:ea typeface="+mn-ea"/>
          <a:cs typeface="+mn-cs"/>
        </a:defRPr>
      </a:lvl1pPr>
      <a:lvl2pPr marL="1056596" indent="-406384" algn="l" defTabSz="650214" rtl="0" eaLnBrk="1" latinLnBrk="0" hangingPunct="1">
        <a:spcBef>
          <a:spcPct val="20000"/>
        </a:spcBef>
        <a:buFont typeface="Arial"/>
        <a:buChar char="–"/>
        <a:defRPr sz="3982" kern="1200">
          <a:solidFill>
            <a:schemeClr val="tx1"/>
          </a:solidFill>
          <a:latin typeface="+mn-lt"/>
          <a:ea typeface="+mn-ea"/>
          <a:cs typeface="+mn-cs"/>
        </a:defRPr>
      </a:lvl2pPr>
      <a:lvl3pPr marL="1625535" indent="-325106" algn="l" defTabSz="650214" rtl="0" eaLnBrk="1" latinLnBrk="0" hangingPunct="1">
        <a:spcBef>
          <a:spcPct val="20000"/>
        </a:spcBef>
        <a:buFont typeface="Arial"/>
        <a:buChar char="•"/>
        <a:defRPr sz="3413" kern="1200">
          <a:solidFill>
            <a:schemeClr val="tx1"/>
          </a:solidFill>
          <a:latin typeface="+mn-lt"/>
          <a:ea typeface="+mn-ea"/>
          <a:cs typeface="+mn-cs"/>
        </a:defRPr>
      </a:lvl3pPr>
      <a:lvl4pPr marL="2275748" indent="-325106" algn="l" defTabSz="650214" rtl="0" eaLnBrk="1" latinLnBrk="0" hangingPunct="1">
        <a:spcBef>
          <a:spcPct val="20000"/>
        </a:spcBef>
        <a:buFont typeface="Arial"/>
        <a:buChar char="–"/>
        <a:defRPr sz="2844" kern="1200">
          <a:solidFill>
            <a:schemeClr val="tx1"/>
          </a:solidFill>
          <a:latin typeface="+mn-lt"/>
          <a:ea typeface="+mn-ea"/>
          <a:cs typeface="+mn-cs"/>
        </a:defRPr>
      </a:lvl4pPr>
      <a:lvl5pPr marL="2925960" indent="-325106" algn="l" defTabSz="650214" rtl="0" eaLnBrk="1" latinLnBrk="0" hangingPunct="1">
        <a:spcBef>
          <a:spcPct val="20000"/>
        </a:spcBef>
        <a:buFont typeface="Arial"/>
        <a:buChar char="»"/>
        <a:defRPr sz="2844" kern="1200">
          <a:solidFill>
            <a:schemeClr val="tx1"/>
          </a:solidFill>
          <a:latin typeface="+mn-lt"/>
          <a:ea typeface="+mn-ea"/>
          <a:cs typeface="+mn-cs"/>
        </a:defRPr>
      </a:lvl5pPr>
      <a:lvl6pPr marL="3576175" indent="-325106" algn="l" defTabSz="650214" rtl="0" eaLnBrk="1" latinLnBrk="0" hangingPunct="1">
        <a:spcBef>
          <a:spcPct val="20000"/>
        </a:spcBef>
        <a:buFont typeface="Arial"/>
        <a:buChar char="•"/>
        <a:defRPr sz="2844" kern="1200">
          <a:solidFill>
            <a:schemeClr val="tx1"/>
          </a:solidFill>
          <a:latin typeface="+mn-lt"/>
          <a:ea typeface="+mn-ea"/>
          <a:cs typeface="+mn-cs"/>
        </a:defRPr>
      </a:lvl6pPr>
      <a:lvl7pPr marL="4226389" indent="-325106" algn="l" defTabSz="650214" rtl="0" eaLnBrk="1" latinLnBrk="0" hangingPunct="1">
        <a:spcBef>
          <a:spcPct val="20000"/>
        </a:spcBef>
        <a:buFont typeface="Arial"/>
        <a:buChar char="•"/>
        <a:defRPr sz="2844" kern="1200">
          <a:solidFill>
            <a:schemeClr val="tx1"/>
          </a:solidFill>
          <a:latin typeface="+mn-lt"/>
          <a:ea typeface="+mn-ea"/>
          <a:cs typeface="+mn-cs"/>
        </a:defRPr>
      </a:lvl7pPr>
      <a:lvl8pPr marL="4876603" indent="-325106" algn="l" defTabSz="650214" rtl="0" eaLnBrk="1" latinLnBrk="0" hangingPunct="1">
        <a:spcBef>
          <a:spcPct val="20000"/>
        </a:spcBef>
        <a:buFont typeface="Arial"/>
        <a:buChar char="•"/>
        <a:defRPr sz="2844" kern="1200">
          <a:solidFill>
            <a:schemeClr val="tx1"/>
          </a:solidFill>
          <a:latin typeface="+mn-lt"/>
          <a:ea typeface="+mn-ea"/>
          <a:cs typeface="+mn-cs"/>
        </a:defRPr>
      </a:lvl8pPr>
      <a:lvl9pPr marL="5526816" indent="-325106" algn="l" defTabSz="650214" rtl="0" eaLnBrk="1" latinLnBrk="0" hangingPunct="1">
        <a:spcBef>
          <a:spcPct val="20000"/>
        </a:spcBef>
        <a:buFont typeface="Arial"/>
        <a:buChar char="•"/>
        <a:defRPr sz="284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5021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1pPr>
      <a:lvl2pPr marL="650214" algn="l" defTabSz="65021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2pPr>
      <a:lvl3pPr marL="1300428" algn="l" defTabSz="65021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3pPr>
      <a:lvl4pPr marL="1950641" algn="l" defTabSz="65021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4pPr>
      <a:lvl5pPr marL="2600854" algn="l" defTabSz="65021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5pPr>
      <a:lvl6pPr marL="3251068" algn="l" defTabSz="65021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6pPr>
      <a:lvl7pPr marL="3901282" algn="l" defTabSz="65021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7pPr>
      <a:lvl8pPr marL="4551495" algn="l" defTabSz="65021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8pPr>
      <a:lvl9pPr marL="5201709" algn="l" defTabSz="65021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885413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17" r:id="rId1"/>
    <p:sldLayoutId id="2147485018" r:id="rId2"/>
    <p:sldLayoutId id="2147485019" r:id="rId3"/>
    <p:sldLayoutId id="2147485020" r:id="rId4"/>
    <p:sldLayoutId id="2147485021" r:id="rId5"/>
    <p:sldLayoutId id="2147485022" r:id="rId6"/>
    <p:sldLayoutId id="2147485023" r:id="rId7"/>
    <p:sldLayoutId id="2147485025" r:id="rId8"/>
    <p:sldLayoutId id="2147485026" r:id="rId9"/>
    <p:sldLayoutId id="2147485027" r:id="rId10"/>
    <p:sldLayoutId id="2147485028" r:id="rId11"/>
    <p:sldLayoutId id="2147485029" r:id="rId12"/>
    <p:sldLayoutId id="2147485030" r:id="rId13"/>
    <p:sldLayoutId id="2147485031" r:id="rId14"/>
    <p:sldLayoutId id="2147485032" r:id="rId15"/>
    <p:sldLayoutId id="2147485033" r:id="rId16"/>
  </p:sldLayoutIdLst>
  <p:hf sldNum="0" hdr="0" ftr="0" dt="0"/>
  <p:txStyles>
    <p:titleStyle>
      <a:lvl1pPr algn="ctr" defTabSz="487695" rtl="0" eaLnBrk="1" latinLnBrk="0" hangingPunct="1">
        <a:spcBef>
          <a:spcPct val="0"/>
        </a:spcBef>
        <a:buNone/>
        <a:defRPr sz="4693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5771" indent="-365771" algn="l" defTabSz="487695" rtl="0" eaLnBrk="1" latinLnBrk="0" hangingPunct="1">
        <a:spcBef>
          <a:spcPct val="20000"/>
        </a:spcBef>
        <a:buFont typeface="Arial"/>
        <a:buChar char="•"/>
        <a:defRPr sz="3413" kern="1200">
          <a:solidFill>
            <a:schemeClr val="tx1"/>
          </a:solidFill>
          <a:latin typeface="+mn-lt"/>
          <a:ea typeface="+mn-ea"/>
          <a:cs typeface="+mn-cs"/>
        </a:defRPr>
      </a:lvl1pPr>
      <a:lvl2pPr marL="792505" indent="-304810" algn="l" defTabSz="487695" rtl="0" eaLnBrk="1" latinLnBrk="0" hangingPunct="1">
        <a:spcBef>
          <a:spcPct val="20000"/>
        </a:spcBef>
        <a:buFont typeface="Arial"/>
        <a:buChar char="–"/>
        <a:defRPr sz="2987" kern="1200">
          <a:solidFill>
            <a:schemeClr val="tx1"/>
          </a:solidFill>
          <a:latin typeface="+mn-lt"/>
          <a:ea typeface="+mn-ea"/>
          <a:cs typeface="+mn-cs"/>
        </a:defRPr>
      </a:lvl2pPr>
      <a:lvl3pPr marL="1219238" indent="-243848" algn="l" defTabSz="487695" rtl="0" eaLnBrk="1" latinLnBrk="0" hangingPunct="1">
        <a:spcBef>
          <a:spcPct val="20000"/>
        </a:spcBef>
        <a:buFont typeface="Arial"/>
        <a:buChar char="•"/>
        <a:defRPr sz="2560" kern="1200">
          <a:solidFill>
            <a:schemeClr val="tx1"/>
          </a:solidFill>
          <a:latin typeface="+mn-lt"/>
          <a:ea typeface="+mn-ea"/>
          <a:cs typeface="+mn-cs"/>
        </a:defRPr>
      </a:lvl3pPr>
      <a:lvl4pPr marL="1706933" indent="-243848" algn="l" defTabSz="487695" rtl="0" eaLnBrk="1" latinLnBrk="0" hangingPunct="1">
        <a:spcBef>
          <a:spcPct val="20000"/>
        </a:spcBef>
        <a:buFont typeface="Arial"/>
        <a:buChar char="–"/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94629" indent="-243848" algn="l" defTabSz="487695" rtl="0" eaLnBrk="1" latinLnBrk="0" hangingPunct="1">
        <a:spcBef>
          <a:spcPct val="20000"/>
        </a:spcBef>
        <a:buFont typeface="Arial"/>
        <a:buChar char="»"/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682324" indent="-243848" algn="l" defTabSz="487695" rtl="0" eaLnBrk="1" latinLnBrk="0" hangingPunct="1">
        <a:spcBef>
          <a:spcPct val="20000"/>
        </a:spcBef>
        <a:buFont typeface="Arial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170019" indent="-243848" algn="l" defTabSz="487695" rtl="0" eaLnBrk="1" latinLnBrk="0" hangingPunct="1">
        <a:spcBef>
          <a:spcPct val="20000"/>
        </a:spcBef>
        <a:buFont typeface="Arial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657714" indent="-243848" algn="l" defTabSz="487695" rtl="0" eaLnBrk="1" latinLnBrk="0" hangingPunct="1">
        <a:spcBef>
          <a:spcPct val="20000"/>
        </a:spcBef>
        <a:buFont typeface="Arial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145410" indent="-243848" algn="l" defTabSz="487695" rtl="0" eaLnBrk="1" latinLnBrk="0" hangingPunct="1">
        <a:spcBef>
          <a:spcPct val="20000"/>
        </a:spcBef>
        <a:buFont typeface="Arial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87695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1pPr>
      <a:lvl2pPr marL="487695" algn="l" defTabSz="487695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2pPr>
      <a:lvl3pPr marL="975390" algn="l" defTabSz="487695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3pPr>
      <a:lvl4pPr marL="1463086" algn="l" defTabSz="487695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4pPr>
      <a:lvl5pPr marL="1950781" algn="l" defTabSz="487695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5pPr>
      <a:lvl6pPr marL="2438476" algn="l" defTabSz="487695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6pPr>
      <a:lvl7pPr marL="2926171" algn="l" defTabSz="487695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7pPr>
      <a:lvl8pPr marL="3413867" algn="l" defTabSz="487695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8pPr>
      <a:lvl9pPr marL="3901562" algn="l" defTabSz="487695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4B2E8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0370309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58" r:id="rId1"/>
    <p:sldLayoutId id="2147483659" r:id="rId2"/>
    <p:sldLayoutId id="2147483660" r:id="rId3"/>
    <p:sldLayoutId id="2147483661" r:id="rId4"/>
  </p:sldLayoutIdLst>
  <p:txStyles>
    <p:titleStyle>
      <a:lvl1pPr algn="ctr" defTabSz="487695" rtl="0" eaLnBrk="1" latinLnBrk="0" hangingPunct="1">
        <a:spcBef>
          <a:spcPct val="0"/>
        </a:spcBef>
        <a:buNone/>
        <a:defRPr sz="4693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5771" indent="-365771" algn="l" defTabSz="487695" rtl="0" eaLnBrk="1" latinLnBrk="0" hangingPunct="1">
        <a:spcBef>
          <a:spcPct val="20000"/>
        </a:spcBef>
        <a:buFont typeface="Arial"/>
        <a:buChar char="•"/>
        <a:defRPr sz="3413" kern="1200">
          <a:solidFill>
            <a:schemeClr val="tx1"/>
          </a:solidFill>
          <a:latin typeface="+mn-lt"/>
          <a:ea typeface="+mn-ea"/>
          <a:cs typeface="+mn-cs"/>
        </a:defRPr>
      </a:lvl1pPr>
      <a:lvl2pPr marL="792505" indent="-304810" algn="l" defTabSz="487695" rtl="0" eaLnBrk="1" latinLnBrk="0" hangingPunct="1">
        <a:spcBef>
          <a:spcPct val="20000"/>
        </a:spcBef>
        <a:buFont typeface="Arial"/>
        <a:buChar char="–"/>
        <a:defRPr sz="2987" kern="1200">
          <a:solidFill>
            <a:schemeClr val="tx1"/>
          </a:solidFill>
          <a:latin typeface="+mn-lt"/>
          <a:ea typeface="+mn-ea"/>
          <a:cs typeface="+mn-cs"/>
        </a:defRPr>
      </a:lvl2pPr>
      <a:lvl3pPr marL="1219238" indent="-243848" algn="l" defTabSz="487695" rtl="0" eaLnBrk="1" latinLnBrk="0" hangingPunct="1">
        <a:spcBef>
          <a:spcPct val="20000"/>
        </a:spcBef>
        <a:buFont typeface="Arial"/>
        <a:buChar char="•"/>
        <a:defRPr sz="2560" kern="1200">
          <a:solidFill>
            <a:schemeClr val="tx1"/>
          </a:solidFill>
          <a:latin typeface="+mn-lt"/>
          <a:ea typeface="+mn-ea"/>
          <a:cs typeface="+mn-cs"/>
        </a:defRPr>
      </a:lvl3pPr>
      <a:lvl4pPr marL="1706933" indent="-243848" algn="l" defTabSz="487695" rtl="0" eaLnBrk="1" latinLnBrk="0" hangingPunct="1">
        <a:spcBef>
          <a:spcPct val="20000"/>
        </a:spcBef>
        <a:buFont typeface="Arial"/>
        <a:buChar char="–"/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94629" indent="-243848" algn="l" defTabSz="487695" rtl="0" eaLnBrk="1" latinLnBrk="0" hangingPunct="1">
        <a:spcBef>
          <a:spcPct val="20000"/>
        </a:spcBef>
        <a:buFont typeface="Arial"/>
        <a:buChar char="»"/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682324" indent="-243848" algn="l" defTabSz="487695" rtl="0" eaLnBrk="1" latinLnBrk="0" hangingPunct="1">
        <a:spcBef>
          <a:spcPct val="20000"/>
        </a:spcBef>
        <a:buFont typeface="Arial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170019" indent="-243848" algn="l" defTabSz="487695" rtl="0" eaLnBrk="1" latinLnBrk="0" hangingPunct="1">
        <a:spcBef>
          <a:spcPct val="20000"/>
        </a:spcBef>
        <a:buFont typeface="Arial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657714" indent="-243848" algn="l" defTabSz="487695" rtl="0" eaLnBrk="1" latinLnBrk="0" hangingPunct="1">
        <a:spcBef>
          <a:spcPct val="20000"/>
        </a:spcBef>
        <a:buFont typeface="Arial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145410" indent="-243848" algn="l" defTabSz="487695" rtl="0" eaLnBrk="1" latinLnBrk="0" hangingPunct="1">
        <a:spcBef>
          <a:spcPct val="20000"/>
        </a:spcBef>
        <a:buFont typeface="Arial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87695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1pPr>
      <a:lvl2pPr marL="487695" algn="l" defTabSz="487695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2pPr>
      <a:lvl3pPr marL="975390" algn="l" defTabSz="487695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3pPr>
      <a:lvl4pPr marL="1463086" algn="l" defTabSz="487695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4pPr>
      <a:lvl5pPr marL="1950781" algn="l" defTabSz="487695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5pPr>
      <a:lvl6pPr marL="2438476" algn="l" defTabSz="487695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6pPr>
      <a:lvl7pPr marL="2926171" algn="l" defTabSz="487695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7pPr>
      <a:lvl8pPr marL="3413867" algn="l" defTabSz="487695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8pPr>
      <a:lvl9pPr marL="3901562" algn="l" defTabSz="487695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5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4.xml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hyperlink" Target="https://finance.uw.edu/fr/node/87" TargetMode="External"/><Relationship Id="rId1" Type="http://schemas.openxmlformats.org/officeDocument/2006/relationships/slideLayout" Target="../slideLayouts/slideLayout31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46DFCF-13F6-46D6-90E0-2865F0A925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4756" y="917323"/>
            <a:ext cx="11980588" cy="3757164"/>
          </a:xfrm>
        </p:spPr>
        <p:txBody>
          <a:bodyPr lIns="91440" tIns="45720" rIns="91440" bIns="45720" anchor="b">
            <a:normAutofit/>
          </a:bodyPr>
          <a:lstStyle/>
          <a:p>
            <a:r>
              <a:rPr lang="en-US" sz="4400" dirty="0">
                <a:latin typeface="Encode Sans Normal Black"/>
              </a:rPr>
              <a:t>Shared Environment accounting forum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A0A5EDF8-BC13-4818-9770-6CF0A54B9D9B}"/>
              </a:ext>
            </a:extLst>
          </p:cNvPr>
          <p:cNvSpPr txBox="1">
            <a:spLocks/>
          </p:cNvSpPr>
          <p:nvPr/>
        </p:nvSpPr>
        <p:spPr>
          <a:xfrm>
            <a:off x="654753" y="4924389"/>
            <a:ext cx="11980591" cy="828136"/>
          </a:xfrm>
          <a:prstGeom prst="rect">
            <a:avLst/>
          </a:prstGeom>
        </p:spPr>
        <p:txBody>
          <a:bodyPr lIns="91440" tIns="45720" rIns="91440" bIns="45720" anchor="b">
            <a:normAutofit/>
          </a:bodyPr>
          <a:lstStyle>
            <a:lvl1pPr algn="l" defTabSz="487710" rtl="0" eaLnBrk="1" latinLnBrk="0" hangingPunct="1">
              <a:spcBef>
                <a:spcPct val="0"/>
              </a:spcBef>
              <a:buNone/>
              <a:defRPr sz="7112" b="1" i="0" kern="1200">
                <a:solidFill>
                  <a:schemeClr val="tx1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r>
              <a:rPr lang="en-US" sz="2800" b="0">
                <a:solidFill>
                  <a:schemeClr val="tx2"/>
                </a:solidFill>
                <a:latin typeface="Encode Sans Normal Black"/>
              </a:rPr>
              <a:t>April 9, </a:t>
            </a:r>
            <a:r>
              <a:rPr lang="en-US" sz="2800" b="0" dirty="0">
                <a:solidFill>
                  <a:schemeClr val="tx2"/>
                </a:solidFill>
                <a:latin typeface="Encode Sans Normal Black"/>
              </a:rPr>
              <a:t>2024</a:t>
            </a:r>
          </a:p>
        </p:txBody>
      </p:sp>
    </p:spTree>
    <p:extLst>
      <p:ext uri="{BB962C8B-B14F-4D97-AF65-F5344CB8AC3E}">
        <p14:creationId xmlns:p14="http://schemas.microsoft.com/office/powerpoint/2010/main" val="257987342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462413A-FCAC-3777-3506-3719230D735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2E045FB-1DBA-9607-0071-F7AE710CA12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fontScale="85000" lnSpcReduction="20000"/>
          </a:bodyPr>
          <a:lstStyle/>
          <a:p>
            <a:r>
              <a:rPr lang="en-US" sz="3900" b="1" dirty="0"/>
              <a:t>Receipt Accrual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DAE4938-F98C-5D97-4114-D7714693CEC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13438" y="1145224"/>
            <a:ext cx="12007551" cy="5516247"/>
          </a:xfrm>
        </p:spPr>
        <p:txBody>
          <a:bodyPr lIns="91440" tIns="45720" rIns="91440" bIns="45720" anchor="t"/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2800" dirty="0">
                <a:effectLst/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urpose: recognize expense in the period in which goods or services have been received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2800" dirty="0"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eceipt accruals post expense and an accrued liability (accrued receipts), similar in concept to accrued salaries and wages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2800" dirty="0">
                <a:effectLst/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his entry </a:t>
            </a:r>
            <a:r>
              <a:rPr lang="en-US" sz="2800" dirty="0"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will be setup to post the last day of the period and reverse immediately following on the first day of the next period. 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2800" dirty="0">
                <a:effectLst/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he receipt accrual will continue to repeat creating a reversing entry monthly until the actual invoice is received and processed, generating accounts payable (opposed to accrued receipts)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2800" dirty="0"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ebit – Expense</a:t>
            </a:r>
            <a:endParaRPr lang="en-US" sz="2373" dirty="0">
              <a:latin typeface="Aptos" panose="020B000402020202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marR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373" dirty="0"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	    Credit – Accrued Receipts</a:t>
            </a:r>
            <a:endParaRPr lang="en-US" sz="2800" dirty="0">
              <a:latin typeface="Aptos" panose="020B000402020202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8165912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83A29CC-267D-02D5-27BB-6F2597D023F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571A43E-DE04-05B5-A854-80129625C0A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fontScale="85000" lnSpcReduction="20000"/>
          </a:bodyPr>
          <a:lstStyle/>
          <a:p>
            <a:r>
              <a:rPr lang="en-US" sz="3900" b="1" dirty="0"/>
              <a:t>Receipt Accruals – Trial Balance Expens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764A149-B4C0-1DA7-2750-FCB5133FCE3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073788"/>
            <a:ext cx="12897853" cy="54353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972422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2709804-887B-390D-52F0-5E8B6EF9DFB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5C189FE-B73F-890D-2983-D26A9BB7A3D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fontScale="85000" lnSpcReduction="20000"/>
          </a:bodyPr>
          <a:lstStyle/>
          <a:p>
            <a:r>
              <a:rPr lang="en-US" sz="3900" b="1" dirty="0"/>
              <a:t>Receipt Accruals</a:t>
            </a:r>
          </a:p>
        </p:txBody>
      </p:sp>
      <p:pic>
        <p:nvPicPr>
          <p:cNvPr id="2" name="Picture 1" descr="A screenshot of a computer&#10;&#10;Description automatically generated">
            <a:extLst>
              <a:ext uri="{FF2B5EF4-FFF2-40B4-BE49-F238E27FC236}">
                <a16:creationId xmlns:a16="http://schemas.microsoft.com/office/drawing/2014/main" id="{24D86A62-D059-9969-4523-F0E11DD5653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6452" y="1329003"/>
            <a:ext cx="11678097" cy="1985027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8D33A1C4-F4BA-485C-B60D-16CC9D23B736}"/>
              </a:ext>
            </a:extLst>
          </p:cNvPr>
          <p:cNvSpPr txBox="1"/>
          <p:nvPr/>
        </p:nvSpPr>
        <p:spPr>
          <a:xfrm>
            <a:off x="6150703" y="3353097"/>
            <a:ext cx="4480646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Drill into expense amount by journal source</a:t>
            </a:r>
          </a:p>
        </p:txBody>
      </p:sp>
      <p:pic>
        <p:nvPicPr>
          <p:cNvPr id="5" name="Picture 4" descr="A screenshot of a computer&#10;&#10;Description automatically generated">
            <a:extLst>
              <a:ext uri="{FF2B5EF4-FFF2-40B4-BE49-F238E27FC236}">
                <a16:creationId xmlns:a16="http://schemas.microsoft.com/office/drawing/2014/main" id="{9DAC182F-C017-4D3A-5F4E-5F59C21BD86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1869" y="3782962"/>
            <a:ext cx="8517865" cy="3135958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A7690F59-247C-7EDB-8736-DFA6DC5BDC07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32491" t="14030"/>
          <a:stretch/>
        </p:blipFill>
        <p:spPr>
          <a:xfrm>
            <a:off x="10631348" y="3314030"/>
            <a:ext cx="2176379" cy="2792388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FBD2F5BC-5555-E2D9-ABE1-33C053D2B6D6}"/>
              </a:ext>
            </a:extLst>
          </p:cNvPr>
          <p:cNvSpPr txBox="1"/>
          <p:nvPr/>
        </p:nvSpPr>
        <p:spPr>
          <a:xfrm>
            <a:off x="581869" y="6771703"/>
            <a:ext cx="11137669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Drill into receipt accruals (‘blue’ 0.00 means there are transactions)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38FA3F2-9401-5CF0-0B29-1CED90B1EF4A}"/>
              </a:ext>
            </a:extLst>
          </p:cNvPr>
          <p:cNvSpPr txBox="1"/>
          <p:nvPr/>
        </p:nvSpPr>
        <p:spPr>
          <a:xfrm>
            <a:off x="10732168" y="4510169"/>
            <a:ext cx="1690763" cy="200055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en-US" sz="700" dirty="0">
              <a:ln w="38100">
                <a:solidFill>
                  <a:schemeClr val="tx1"/>
                </a:solidFill>
              </a:ln>
            </a:endParaRPr>
          </a:p>
        </p:txBody>
      </p:sp>
    </p:spTree>
    <p:extLst>
      <p:ext uri="{BB962C8B-B14F-4D97-AF65-F5344CB8AC3E}">
        <p14:creationId xmlns:p14="http://schemas.microsoft.com/office/powerpoint/2010/main" val="345253885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28839FF-D2BB-BD18-7BBA-BF476F9BC7B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B65646B-1C0D-CD8A-6464-6A1E84B0E5E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fontScale="85000" lnSpcReduction="20000"/>
          </a:bodyPr>
          <a:lstStyle/>
          <a:p>
            <a:r>
              <a:rPr lang="en-US" sz="3900" b="1" dirty="0"/>
              <a:t>Receipt Accrual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F89FA0A-0211-33DE-53D6-29C8962106D2}"/>
              </a:ext>
            </a:extLst>
          </p:cNvPr>
          <p:cNvSpPr txBox="1"/>
          <p:nvPr/>
        </p:nvSpPr>
        <p:spPr>
          <a:xfrm>
            <a:off x="617964" y="1215334"/>
            <a:ext cx="11137669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Extract journal lines into Excel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525C0BD-0F8A-D332-A155-002612BA971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1800" y="1720516"/>
            <a:ext cx="12063332" cy="55946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609643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0C6D005-BFCD-32B5-3DBF-DF3BB0CC62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56BDDEF-585F-E0CA-0B24-FAC35EEE79B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fontScale="85000" lnSpcReduction="20000"/>
          </a:bodyPr>
          <a:lstStyle/>
          <a:p>
            <a:r>
              <a:rPr lang="en-US" sz="3900" b="1" dirty="0"/>
              <a:t>Receipt Accrual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8BAF771-F304-72EC-CECC-5E501700FB5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575871"/>
            <a:ext cx="13004800" cy="4163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063132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52DCC6F-C674-7BC8-5F18-6DE31381FB7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79E7299-E3E9-3C45-00B7-34206BEBDDC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fontScale="85000" lnSpcReduction="20000"/>
          </a:bodyPr>
          <a:lstStyle/>
          <a:p>
            <a:r>
              <a:rPr lang="en-US" sz="3900" b="1" dirty="0"/>
              <a:t>Receipt Accruals</a:t>
            </a:r>
          </a:p>
        </p:txBody>
      </p:sp>
      <p:pic>
        <p:nvPicPr>
          <p:cNvPr id="2" name="Picture 1" descr="A screenshot of a computer&#10;&#10;Description automatically generated">
            <a:extLst>
              <a:ext uri="{FF2B5EF4-FFF2-40B4-BE49-F238E27FC236}">
                <a16:creationId xmlns:a16="http://schemas.microsoft.com/office/drawing/2014/main" id="{0BF9C3CA-C436-F063-5A7D-28A9C6BB7EB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3436" y="1740366"/>
            <a:ext cx="11782028" cy="5178554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AEAA9E5E-1730-FEA7-C68F-BD0776736D50}"/>
              </a:ext>
            </a:extLst>
          </p:cNvPr>
          <p:cNvSpPr txBox="1"/>
          <p:nvPr/>
        </p:nvSpPr>
        <p:spPr>
          <a:xfrm>
            <a:off x="713436" y="1215334"/>
            <a:ext cx="11137669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Notice the multiple (monthly) receipt accrual operational journals</a:t>
            </a:r>
          </a:p>
        </p:txBody>
      </p:sp>
    </p:spTree>
    <p:extLst>
      <p:ext uri="{BB962C8B-B14F-4D97-AF65-F5344CB8AC3E}">
        <p14:creationId xmlns:p14="http://schemas.microsoft.com/office/powerpoint/2010/main" val="293741186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0F3167E-D12C-2C4D-B200-6D354477C2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24AE6AC-C613-ACFE-45DD-8ED79A40125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fontScale="85000" lnSpcReduction="20000"/>
          </a:bodyPr>
          <a:lstStyle/>
          <a:p>
            <a:r>
              <a:rPr lang="en-US" sz="3900" b="1" dirty="0"/>
              <a:t>Receipt Accrual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5ED2B50-D042-751D-6131-E03E195F4C6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3436" y="1672389"/>
            <a:ext cx="10852715" cy="5330752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FCA778F1-EBB6-53B5-5E02-B2FA84D03AD7}"/>
              </a:ext>
            </a:extLst>
          </p:cNvPr>
          <p:cNvSpPr txBox="1"/>
          <p:nvPr/>
        </p:nvSpPr>
        <p:spPr>
          <a:xfrm>
            <a:off x="713436" y="1215334"/>
            <a:ext cx="11137669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he 22010 Accrued Receipts only posts to balancing </a:t>
            </a:r>
            <a:r>
              <a:rPr lang="en-US" dirty="0" err="1"/>
              <a:t>worktags</a:t>
            </a:r>
            <a:r>
              <a:rPr lang="en-US" dirty="0"/>
              <a:t>, not cost center (similar to Accounts Payable)</a:t>
            </a:r>
          </a:p>
        </p:txBody>
      </p:sp>
    </p:spTree>
    <p:extLst>
      <p:ext uri="{BB962C8B-B14F-4D97-AF65-F5344CB8AC3E}">
        <p14:creationId xmlns:p14="http://schemas.microsoft.com/office/powerpoint/2010/main" val="231703893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46DFCF-13F6-46D6-90E0-2865F0A925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4755" y="917323"/>
            <a:ext cx="12120211" cy="3757164"/>
          </a:xfrm>
        </p:spPr>
        <p:txBody>
          <a:bodyPr lIns="91440" tIns="45720" rIns="91440" bIns="45720" anchor="b">
            <a:normAutofit/>
          </a:bodyPr>
          <a:lstStyle/>
          <a:p>
            <a:r>
              <a:rPr lang="en-US" sz="4400" dirty="0">
                <a:latin typeface="Encode Sans Normal Black"/>
              </a:rPr>
              <a:t>Reference documents – 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A0A5EDF8-BC13-4818-9770-6CF0A54B9D9B}"/>
              </a:ext>
            </a:extLst>
          </p:cNvPr>
          <p:cNvSpPr txBox="1">
            <a:spLocks/>
          </p:cNvSpPr>
          <p:nvPr/>
        </p:nvSpPr>
        <p:spPr>
          <a:xfrm>
            <a:off x="654753" y="4924389"/>
            <a:ext cx="11980591" cy="828136"/>
          </a:xfrm>
          <a:prstGeom prst="rect">
            <a:avLst/>
          </a:prstGeom>
        </p:spPr>
        <p:txBody>
          <a:bodyPr lIns="91440" tIns="45720" rIns="91440" bIns="45720" anchor="b">
            <a:normAutofit/>
          </a:bodyPr>
          <a:lstStyle>
            <a:lvl1pPr algn="l" defTabSz="487710" rtl="0" eaLnBrk="1" latinLnBrk="0" hangingPunct="1">
              <a:spcBef>
                <a:spcPct val="0"/>
              </a:spcBef>
              <a:buNone/>
              <a:defRPr sz="7112" b="1" i="0" kern="1200">
                <a:solidFill>
                  <a:schemeClr val="tx1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endParaRPr lang="en-US" sz="2800" b="0" dirty="0">
              <a:solidFill>
                <a:schemeClr val="tx2"/>
              </a:solidFill>
              <a:latin typeface="Encode Sans Normal Black"/>
            </a:endParaRPr>
          </a:p>
        </p:txBody>
      </p:sp>
    </p:spTree>
    <p:extLst>
      <p:ext uri="{BB962C8B-B14F-4D97-AF65-F5344CB8AC3E}">
        <p14:creationId xmlns:p14="http://schemas.microsoft.com/office/powerpoint/2010/main" val="420242464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54755" y="917324"/>
            <a:ext cx="10987896" cy="3757164"/>
          </a:xfrm>
        </p:spPr>
        <p:txBody>
          <a:bodyPr lIns="97536" tIns="48768" rIns="97536" bIns="48768" anchor="b"/>
          <a:lstStyle/>
          <a:p>
            <a:pPr marL="182880" marR="0" lvl="0" indent="0" algn="l" defTabSz="457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5400" b="1" dirty="0"/>
              <a:t>SE Accounting Forum Web Page – </a:t>
            </a:r>
            <a:br>
              <a:rPr lang="en-US" sz="5400" b="1" dirty="0"/>
            </a:br>
            <a:r>
              <a:rPr lang="en-US" sz="5400" b="1" dirty="0"/>
              <a:t>Decks &amp; Recordings</a:t>
            </a:r>
            <a:br>
              <a:rPr lang="en-US" sz="5400" b="1" dirty="0"/>
            </a:br>
            <a:r>
              <a:rPr lang="en-US" sz="4400" b="1" dirty="0">
                <a:hlinkClick r:id="rId2"/>
              </a:rPr>
              <a:t>https://finance.uw.edu/fr/node/87</a:t>
            </a:r>
            <a:br>
              <a:rPr lang="en-US" sz="5400" b="1" dirty="0"/>
            </a:br>
            <a:r>
              <a:rPr lang="en-US" sz="2800" b="1" dirty="0"/>
              <a:t>Finance&gt; Financial Reporting&gt; Shared Environment Accounting Forum</a:t>
            </a:r>
            <a:endParaRPr lang="en-US" sz="5400" b="1" dirty="0"/>
          </a:p>
        </p:txBody>
      </p:sp>
    </p:spTree>
    <p:extLst>
      <p:ext uri="{BB962C8B-B14F-4D97-AF65-F5344CB8AC3E}">
        <p14:creationId xmlns:p14="http://schemas.microsoft.com/office/powerpoint/2010/main" val="360051460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682196" y="324921"/>
            <a:ext cx="11380313" cy="477011"/>
          </a:xfrm>
        </p:spPr>
        <p:txBody>
          <a:bodyPr>
            <a:noAutofit/>
          </a:bodyPr>
          <a:lstStyle/>
          <a:p>
            <a:r>
              <a:rPr lang="en-US" sz="3000" b="1" cap="all" dirty="0">
                <a:solidFill>
                  <a:srgbClr val="4B2E83"/>
                </a:solidFill>
                <a:latin typeface="Encode Sans Normal Black" charset="0"/>
              </a:rPr>
              <a:t>Future Discussion Topics</a:t>
            </a:r>
            <a:endParaRPr lang="en-US" sz="3000" b="1" cap="all" dirty="0">
              <a:solidFill>
                <a:srgbClr val="4B2E83"/>
              </a:solidFill>
              <a:highlight>
                <a:srgbClr val="FFFF00"/>
              </a:highlight>
              <a:latin typeface="Encode Sans Normal Black" charset="0"/>
            </a:endParaRP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3AC4184-DB75-4AC4-8681-FE0A3BD30CF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78176" y="6922428"/>
            <a:ext cx="453427" cy="389467"/>
          </a:xfrm>
        </p:spPr>
        <p:txBody>
          <a:bodyPr/>
          <a:lstStyle/>
          <a:p>
            <a:pPr marL="0" marR="0" lvl="0" indent="0" algn="r" defTabSz="4832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DA41B0-E16D-48B4-8B5D-6BC89192C442}" type="slidenum">
              <a:rPr kumimoji="0" lang="en-US" sz="1280" b="0" i="0" u="none" strike="noStrike" kern="1200" cap="none" spc="0" normalizeH="0" baseline="0" noProof="0">
                <a:ln>
                  <a:noFill/>
                </a:ln>
                <a:solidFill>
                  <a:srgbClr val="33006F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322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80" b="0" i="0" u="none" strike="noStrike" kern="1200" cap="none" spc="0" normalizeH="0" baseline="0" noProof="0">
              <a:ln>
                <a:noFill/>
              </a:ln>
              <a:solidFill>
                <a:srgbClr val="33006F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13" name="Table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23741028"/>
              </p:ext>
            </p:extLst>
          </p:nvPr>
        </p:nvGraphicFramePr>
        <p:xfrm>
          <a:off x="532343" y="1057058"/>
          <a:ext cx="11680017" cy="3808521"/>
        </p:xfrm>
        <a:graphic>
          <a:graphicData uri="http://schemas.openxmlformats.org/drawingml/2006/table">
            <a:tbl>
              <a:tblPr>
                <a:tableStyleId>{5DA37D80-6434-44D0-A028-1B22A696006F}</a:tableStyleId>
              </a:tblPr>
              <a:tblGrid>
                <a:gridCol w="512482">
                  <a:extLst>
                    <a:ext uri="{9D8B030D-6E8A-4147-A177-3AD203B41FA5}">
                      <a16:colId xmlns:a16="http://schemas.microsoft.com/office/drawing/2014/main" val="2417359873"/>
                    </a:ext>
                  </a:extLst>
                </a:gridCol>
                <a:gridCol w="2118539">
                  <a:extLst>
                    <a:ext uri="{9D8B030D-6E8A-4147-A177-3AD203B41FA5}">
                      <a16:colId xmlns:a16="http://schemas.microsoft.com/office/drawing/2014/main" val="420156850"/>
                    </a:ext>
                  </a:extLst>
                </a:gridCol>
                <a:gridCol w="7113319">
                  <a:extLst>
                    <a:ext uri="{9D8B030D-6E8A-4147-A177-3AD203B41FA5}">
                      <a16:colId xmlns:a16="http://schemas.microsoft.com/office/drawing/2014/main" val="1594515221"/>
                    </a:ext>
                  </a:extLst>
                </a:gridCol>
                <a:gridCol w="1935677">
                  <a:extLst>
                    <a:ext uri="{9D8B030D-6E8A-4147-A177-3AD203B41FA5}">
                      <a16:colId xmlns:a16="http://schemas.microsoft.com/office/drawing/2014/main" val="1913697892"/>
                    </a:ext>
                  </a:extLst>
                </a:gridCol>
              </a:tblGrid>
              <a:tr h="608121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u="none" strike="noStrike" dirty="0">
                          <a:solidFill>
                            <a:schemeClr val="bg2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#</a:t>
                      </a:r>
                      <a:endParaRPr lang="en-US" sz="1600" b="1" i="0" u="none" strike="noStrike" dirty="0">
                        <a:solidFill>
                          <a:schemeClr val="bg2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</a:txBody>
                  <a:tcPr marL="0" marR="0" marT="0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u="none" strike="noStrike" cap="all" baseline="0" dirty="0">
                          <a:solidFill>
                            <a:schemeClr val="bg2"/>
                          </a:solidFill>
                          <a:effectLst/>
                          <a:latin typeface="Open Sans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Topic</a:t>
                      </a:r>
                      <a:endParaRPr lang="en-US" sz="1600" b="1" i="0" u="none" strike="noStrike" cap="all" baseline="0" dirty="0">
                        <a:solidFill>
                          <a:schemeClr val="bg2"/>
                        </a:solidFill>
                        <a:effectLst/>
                        <a:latin typeface="Open Sans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cap="all" baseline="0" dirty="0">
                          <a:solidFill>
                            <a:schemeClr val="bg2"/>
                          </a:solidFill>
                          <a:effectLst/>
                          <a:latin typeface="Open Sans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OBJECTIVE </a:t>
                      </a:r>
                    </a:p>
                  </a:txBody>
                  <a:tcPr marL="0" marR="0" marT="0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cap="all" baseline="0" dirty="0">
                          <a:solidFill>
                            <a:schemeClr val="bg2"/>
                          </a:solidFill>
                          <a:effectLst/>
                          <a:latin typeface="Open Sans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Tentative Date</a:t>
                      </a:r>
                    </a:p>
                  </a:txBody>
                  <a:tcPr marL="0" marR="0" marT="0" marB="0" anchor="ctr"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2170829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b="1" dirty="0"/>
                        <a:t>1</a:t>
                      </a:r>
                    </a:p>
                  </a:txBody>
                  <a:tcPr marL="45721" marR="0" marT="0" marB="0" anchor="ctr"/>
                </a:tc>
                <a:tc>
                  <a:txBody>
                    <a:bodyPr/>
                    <a:lstStyle/>
                    <a:p>
                      <a:pPr marL="182880" marR="0" lvl="0" indent="0" algn="l" defTabSz="45720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900" b="1" dirty="0"/>
                    </a:p>
                  </a:txBody>
                  <a:tcPr marL="45721" marR="0" marT="0" marB="0" anchor="ctr"/>
                </a:tc>
                <a:tc>
                  <a:txBody>
                    <a:bodyPr/>
                    <a:lstStyle/>
                    <a:p>
                      <a:pPr marL="346075" marR="0" lvl="0" indent="-163195" algn="l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endParaRPr lang="en-US" sz="1900" b="0" kern="1200" cap="none" baseline="0" dirty="0">
                        <a:solidFill>
                          <a:schemeClr val="tx1"/>
                        </a:solidFill>
                        <a:latin typeface="+mn-lt"/>
                        <a:ea typeface="Open Sans"/>
                        <a:cs typeface="Open Sans"/>
                      </a:endParaRPr>
                    </a:p>
                  </a:txBody>
                  <a:tcPr marL="45721" marR="0" marT="0" marB="0" anchor="ctr"/>
                </a:tc>
                <a:tc>
                  <a:txBody>
                    <a:bodyPr/>
                    <a:lstStyle/>
                    <a:p>
                      <a:pPr marL="18288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1900" b="0" kern="1200" cap="none" baseline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45721" marR="0" marT="0" marB="0" anchor="ctr"/>
                </a:tc>
                <a:extLst>
                  <a:ext uri="{0D108BD9-81ED-4DB2-BD59-A6C34878D82A}">
                    <a16:rowId xmlns:a16="http://schemas.microsoft.com/office/drawing/2014/main" val="110695842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b="1" dirty="0"/>
                        <a:t>2</a:t>
                      </a:r>
                    </a:p>
                  </a:txBody>
                  <a:tcPr marL="45721" marR="0" marT="0" marB="0" anchor="ctr"/>
                </a:tc>
                <a:tc>
                  <a:txBody>
                    <a:bodyPr/>
                    <a:lstStyle/>
                    <a:p>
                      <a:pPr marL="182880" marR="0" lvl="0" indent="0" algn="l" defTabSz="45720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900" b="1" dirty="0"/>
                    </a:p>
                  </a:txBody>
                  <a:tcPr marL="45721" marR="0" marT="0" marB="0" anchor="ctr"/>
                </a:tc>
                <a:tc>
                  <a:txBody>
                    <a:bodyPr/>
                    <a:lstStyle/>
                    <a:p>
                      <a:pPr marL="346075" marR="0" lvl="0" indent="-163195" algn="l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endParaRPr lang="en-US" sz="1900" b="0" kern="1200" cap="none" baseline="0" dirty="0">
                        <a:solidFill>
                          <a:schemeClr val="tx1"/>
                        </a:solidFill>
                        <a:latin typeface="+mn-lt"/>
                        <a:ea typeface="Open Sans"/>
                        <a:cs typeface="Open Sans"/>
                      </a:endParaRPr>
                    </a:p>
                  </a:txBody>
                  <a:tcPr marL="45721" marR="0" marT="0" marB="0" anchor="ctr"/>
                </a:tc>
                <a:tc>
                  <a:txBody>
                    <a:bodyPr/>
                    <a:lstStyle/>
                    <a:p>
                      <a:pPr marL="18288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1900" b="0" kern="1200" cap="none" baseline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45721" marR="0" marT="0" marB="0" anchor="ctr"/>
                </a:tc>
                <a:extLst>
                  <a:ext uri="{0D108BD9-81ED-4DB2-BD59-A6C34878D82A}">
                    <a16:rowId xmlns:a16="http://schemas.microsoft.com/office/drawing/2014/main" val="3457452384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b="1" dirty="0"/>
                        <a:t>3</a:t>
                      </a:r>
                    </a:p>
                  </a:txBody>
                  <a:tcPr marL="45721" marR="0" marT="0" marB="0" anchor="ctr"/>
                </a:tc>
                <a:tc>
                  <a:txBody>
                    <a:bodyPr/>
                    <a:lstStyle/>
                    <a:p>
                      <a:pPr marL="182880" lvl="0"/>
                      <a:endParaRPr lang="en-US" sz="19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1" marR="0" marT="0" marB="0" anchor="ctr"/>
                </a:tc>
                <a:tc>
                  <a:txBody>
                    <a:bodyPr/>
                    <a:lstStyle/>
                    <a:p>
                      <a:pPr marL="342900" lvl="0" indent="-342900">
                        <a:buFont typeface="Arial" panose="020B0604020202020204" pitchFamily="34" charset="0"/>
                        <a:buChar char="•"/>
                      </a:pPr>
                      <a:endParaRPr lang="en-US" sz="192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1" marR="0" marT="0" marB="0" anchor="ctr"/>
                </a:tc>
                <a:tc>
                  <a:txBody>
                    <a:bodyPr/>
                    <a:lstStyle/>
                    <a:p>
                      <a:pPr marL="18288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1900" b="0" kern="1200" cap="none" baseline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45721" marR="0" marT="0" marB="0" anchor="ctr"/>
                </a:tc>
                <a:extLst>
                  <a:ext uri="{0D108BD9-81ED-4DB2-BD59-A6C34878D82A}">
                    <a16:rowId xmlns:a16="http://schemas.microsoft.com/office/drawing/2014/main" val="4093913590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b="1" dirty="0"/>
                        <a:t>4</a:t>
                      </a:r>
                    </a:p>
                  </a:txBody>
                  <a:tcPr marL="45721" marR="0" marT="0" marB="0" anchor="ctr"/>
                </a:tc>
                <a:tc>
                  <a:txBody>
                    <a:bodyPr/>
                    <a:lstStyle/>
                    <a:p>
                      <a:pPr marL="182880" lvl="0"/>
                      <a:endParaRPr lang="en-US" sz="19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1" marR="0" marT="0" marB="0" anchor="ctr"/>
                </a:tc>
                <a:tc>
                  <a:txBody>
                    <a:bodyPr/>
                    <a:lstStyle/>
                    <a:p>
                      <a:pPr marL="342900" lvl="0" indent="-342900">
                        <a:buFont typeface="Arial" panose="020B0604020202020204" pitchFamily="34" charset="0"/>
                        <a:buChar char="•"/>
                      </a:pPr>
                      <a:endParaRPr lang="en-US" sz="192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1" marR="0" marT="0" marB="0" anchor="ctr"/>
                </a:tc>
                <a:tc>
                  <a:txBody>
                    <a:bodyPr/>
                    <a:lstStyle/>
                    <a:p>
                      <a:pPr marL="18288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1900" b="0" kern="1200" cap="none" baseline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45721" marR="0" marT="0" marB="0" anchor="ctr"/>
                </a:tc>
                <a:extLst>
                  <a:ext uri="{0D108BD9-81ED-4DB2-BD59-A6C34878D82A}">
                    <a16:rowId xmlns:a16="http://schemas.microsoft.com/office/drawing/2014/main" val="1554076045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b="1" dirty="0"/>
                        <a:t>5</a:t>
                      </a:r>
                    </a:p>
                  </a:txBody>
                  <a:tcPr marL="45721" marR="0" marT="0" marB="0" anchor="ctr"/>
                </a:tc>
                <a:tc>
                  <a:txBody>
                    <a:bodyPr/>
                    <a:lstStyle/>
                    <a:p>
                      <a:pPr marL="182880" lvl="0"/>
                      <a:endParaRPr lang="en-US" sz="19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1" marR="0" marT="0" marB="0" anchor="ctr"/>
                </a:tc>
                <a:tc>
                  <a:txBody>
                    <a:bodyPr/>
                    <a:lstStyle/>
                    <a:p>
                      <a:pPr marL="342900" lvl="0" indent="-342900">
                        <a:buFont typeface="Arial" panose="020B0604020202020204" pitchFamily="34" charset="0"/>
                        <a:buChar char="•"/>
                      </a:pPr>
                      <a:endParaRPr lang="en-US" sz="192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1" marR="0" marT="0" marB="0" anchor="ctr"/>
                </a:tc>
                <a:tc>
                  <a:txBody>
                    <a:bodyPr/>
                    <a:lstStyle/>
                    <a:p>
                      <a:pPr marL="18288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1900" b="0" kern="1200" cap="none" baseline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45721" marR="0" marT="0" marB="0" anchor="ctr"/>
                </a:tc>
                <a:extLst>
                  <a:ext uri="{0D108BD9-81ED-4DB2-BD59-A6C34878D82A}">
                    <a16:rowId xmlns:a16="http://schemas.microsoft.com/office/drawing/2014/main" val="1523719829"/>
                  </a:ext>
                </a:extLst>
              </a:tr>
            </a:tbl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9C5BA07C-1CDA-4EE3-9A65-D7E60573FE20}"/>
              </a:ext>
            </a:extLst>
          </p:cNvPr>
          <p:cNvSpPr txBox="1"/>
          <p:nvPr/>
        </p:nvSpPr>
        <p:spPr>
          <a:xfrm>
            <a:off x="4452238" y="7643598"/>
            <a:ext cx="262317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832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sng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4832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sng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6538745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682196" y="324921"/>
            <a:ext cx="11380313" cy="477011"/>
          </a:xfrm>
        </p:spPr>
        <p:txBody>
          <a:bodyPr>
            <a:noAutofit/>
          </a:bodyPr>
          <a:lstStyle/>
          <a:p>
            <a:r>
              <a:rPr lang="en-US" sz="3000" b="1" cap="all" dirty="0">
                <a:solidFill>
                  <a:srgbClr val="4B2E83"/>
                </a:solidFill>
                <a:latin typeface="Encode Sans Normal Black" charset="0"/>
              </a:rPr>
              <a:t>Discussion topics</a:t>
            </a:r>
            <a:endParaRPr lang="en-US" sz="3000" b="1" cap="all" dirty="0">
              <a:solidFill>
                <a:srgbClr val="4B2E83"/>
              </a:solidFill>
              <a:highlight>
                <a:srgbClr val="FFFF00"/>
              </a:highlight>
              <a:latin typeface="Encode Sans Normal Black" charset="0"/>
            </a:endParaRP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3AC4184-DB75-4AC4-8681-FE0A3BD30CF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78176" y="6922428"/>
            <a:ext cx="453427" cy="389467"/>
          </a:xfrm>
        </p:spPr>
        <p:txBody>
          <a:bodyPr/>
          <a:lstStyle/>
          <a:p>
            <a:pPr marL="0" marR="0" lvl="0" indent="0" algn="r" defTabSz="4832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DA41B0-E16D-48B4-8B5D-6BC89192C442}" type="slidenum">
              <a:rPr kumimoji="0" lang="en-US" sz="1280" b="0" i="0" u="none" strike="noStrike" kern="1200" cap="none" spc="0" normalizeH="0" baseline="0" noProof="0">
                <a:ln>
                  <a:noFill/>
                </a:ln>
                <a:solidFill>
                  <a:srgbClr val="33006F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322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80" b="0" i="0" u="none" strike="noStrike" kern="1200" cap="none" spc="0" normalizeH="0" baseline="0" noProof="0">
              <a:ln>
                <a:noFill/>
              </a:ln>
              <a:solidFill>
                <a:srgbClr val="33006F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13" name="Table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54138574"/>
              </p:ext>
            </p:extLst>
          </p:nvPr>
        </p:nvGraphicFramePr>
        <p:xfrm>
          <a:off x="631602" y="1343453"/>
          <a:ext cx="12054587" cy="3238707"/>
        </p:xfrm>
        <a:graphic>
          <a:graphicData uri="http://schemas.openxmlformats.org/drawingml/2006/table">
            <a:tbl>
              <a:tblPr>
                <a:tableStyleId>{5DA37D80-6434-44D0-A028-1B22A696006F}</a:tableStyleId>
              </a:tblPr>
              <a:tblGrid>
                <a:gridCol w="528917">
                  <a:extLst>
                    <a:ext uri="{9D8B030D-6E8A-4147-A177-3AD203B41FA5}">
                      <a16:colId xmlns:a16="http://schemas.microsoft.com/office/drawing/2014/main" val="2417359873"/>
                    </a:ext>
                  </a:extLst>
                </a:gridCol>
                <a:gridCol w="2356623">
                  <a:extLst>
                    <a:ext uri="{9D8B030D-6E8A-4147-A177-3AD203B41FA5}">
                      <a16:colId xmlns:a16="http://schemas.microsoft.com/office/drawing/2014/main" val="420156850"/>
                    </a:ext>
                  </a:extLst>
                </a:gridCol>
                <a:gridCol w="6690114">
                  <a:extLst>
                    <a:ext uri="{9D8B030D-6E8A-4147-A177-3AD203B41FA5}">
                      <a16:colId xmlns:a16="http://schemas.microsoft.com/office/drawing/2014/main" val="1594515221"/>
                    </a:ext>
                  </a:extLst>
                </a:gridCol>
                <a:gridCol w="2478933">
                  <a:extLst>
                    <a:ext uri="{9D8B030D-6E8A-4147-A177-3AD203B41FA5}">
                      <a16:colId xmlns:a16="http://schemas.microsoft.com/office/drawing/2014/main" val="1913697892"/>
                    </a:ext>
                  </a:extLst>
                </a:gridCol>
              </a:tblGrid>
              <a:tr h="98698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u="none" strike="noStrike" dirty="0">
                          <a:solidFill>
                            <a:schemeClr val="bg2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#</a:t>
                      </a:r>
                      <a:endParaRPr lang="en-US" sz="1600" b="1" i="0" u="none" strike="noStrike" dirty="0">
                        <a:solidFill>
                          <a:schemeClr val="bg2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</a:txBody>
                  <a:tcPr marL="0" marR="0" marT="0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u="none" strike="noStrike" cap="all" baseline="0" dirty="0">
                          <a:solidFill>
                            <a:schemeClr val="bg2"/>
                          </a:solidFill>
                          <a:effectLst/>
                          <a:latin typeface="Open Sans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Topic</a:t>
                      </a:r>
                      <a:endParaRPr lang="en-US" sz="1600" b="1" i="0" u="none" strike="noStrike" cap="all" baseline="0" dirty="0">
                        <a:solidFill>
                          <a:schemeClr val="bg2"/>
                        </a:solidFill>
                        <a:effectLst/>
                        <a:latin typeface="Open Sans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cap="all" baseline="0" dirty="0">
                          <a:solidFill>
                            <a:schemeClr val="bg2"/>
                          </a:solidFill>
                          <a:effectLst/>
                          <a:latin typeface="Open Sans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OBJECTIVE </a:t>
                      </a:r>
                    </a:p>
                  </a:txBody>
                  <a:tcPr marL="0" marR="0" marT="0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cap="all" baseline="0" dirty="0">
                          <a:solidFill>
                            <a:schemeClr val="bg2"/>
                          </a:solidFill>
                          <a:effectLst/>
                          <a:latin typeface="Open Sans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Lead</a:t>
                      </a:r>
                    </a:p>
                  </a:txBody>
                  <a:tcPr marL="0" marR="0" marT="0" marB="0" anchor="ctr"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2170829"/>
                  </a:ext>
                </a:extLst>
              </a:tr>
              <a:tr h="737882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b="1" dirty="0"/>
                        <a:t>1</a:t>
                      </a:r>
                    </a:p>
                  </a:txBody>
                  <a:tcPr marL="45721" marR="0" marT="0" marB="0" anchor="ctr"/>
                </a:tc>
                <a:tc>
                  <a:txBody>
                    <a:bodyPr/>
                    <a:lstStyle/>
                    <a:p>
                      <a:pPr marL="182880" marR="0" lvl="0" indent="0" algn="l" defTabSz="45720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900" b="1" dirty="0"/>
                        <a:t>Year end update</a:t>
                      </a:r>
                    </a:p>
                  </a:txBody>
                  <a:tcPr marL="45721" marR="0" marT="0" marB="0" anchor="ctr"/>
                </a:tc>
                <a:tc>
                  <a:txBody>
                    <a:bodyPr/>
                    <a:lstStyle/>
                    <a:p>
                      <a:pPr marL="346075" marR="0" lvl="0" indent="-163195" algn="l" defTabSz="48771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900" b="0" kern="1200" cap="none" baseline="0" dirty="0">
                          <a:solidFill>
                            <a:schemeClr val="tx1"/>
                          </a:solidFill>
                          <a:latin typeface="+mn-lt"/>
                          <a:ea typeface="Open Sans"/>
                          <a:cs typeface="Open Sans"/>
                        </a:rPr>
                        <a:t>Inform upcoming year end timeline</a:t>
                      </a:r>
                    </a:p>
                  </a:txBody>
                  <a:tcPr marL="45721" marR="0" marT="0" marB="0" anchor="ctr"/>
                </a:tc>
                <a:tc>
                  <a:txBody>
                    <a:bodyPr/>
                    <a:lstStyle/>
                    <a:p>
                      <a:pPr marL="182880" marR="0" lvl="0" indent="0" algn="l" defTabSz="48771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900" b="0" kern="1200" cap="none" baseline="0" dirty="0">
                          <a:solidFill>
                            <a:schemeClr val="tx1"/>
                          </a:solidFill>
                          <a:latin typeface="+mn-lt"/>
                        </a:rPr>
                        <a:t>Erick Winger</a:t>
                      </a:r>
                    </a:p>
                  </a:txBody>
                  <a:tcPr marL="45721" marR="0" marT="0" marB="0" anchor="ctr"/>
                </a:tc>
                <a:extLst>
                  <a:ext uri="{0D108BD9-81ED-4DB2-BD59-A6C34878D82A}">
                    <a16:rowId xmlns:a16="http://schemas.microsoft.com/office/drawing/2014/main" val="890265012"/>
                  </a:ext>
                </a:extLst>
              </a:tr>
              <a:tr h="741680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b="1"/>
                        <a:t>2</a:t>
                      </a:r>
                      <a:endParaRPr lang="en-US" b="1" dirty="0"/>
                    </a:p>
                  </a:txBody>
                  <a:tcPr marL="45721" marR="0" marT="0" marB="0" anchor="ctr"/>
                </a:tc>
                <a:tc>
                  <a:txBody>
                    <a:bodyPr/>
                    <a:lstStyle/>
                    <a:p>
                      <a:pPr marL="182880" marR="0" lvl="0" indent="0" algn="l" defTabSz="45720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900" b="1" dirty="0"/>
                        <a:t>Transfer question</a:t>
                      </a:r>
                    </a:p>
                  </a:txBody>
                  <a:tcPr marL="45721" marR="0" marT="0" marB="0" anchor="ctr"/>
                </a:tc>
                <a:tc>
                  <a:txBody>
                    <a:bodyPr/>
                    <a:lstStyle/>
                    <a:p>
                      <a:pPr marL="346075" marR="0" lvl="0" indent="-163195" algn="l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900" b="0" kern="1200" cap="none" baseline="0" dirty="0">
                          <a:solidFill>
                            <a:schemeClr val="tx1"/>
                          </a:solidFill>
                          <a:latin typeface="+mn-lt"/>
                          <a:ea typeface="Open Sans"/>
                          <a:cs typeface="Open Sans"/>
                        </a:rPr>
                        <a:t>Closing out Grant</a:t>
                      </a:r>
                    </a:p>
                  </a:txBody>
                  <a:tcPr marL="45721" marR="0" marT="0" marB="0" anchor="ctr"/>
                </a:tc>
                <a:tc>
                  <a:txBody>
                    <a:bodyPr/>
                    <a:lstStyle/>
                    <a:p>
                      <a:pPr marL="18288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900" b="0" kern="1200" cap="none" baseline="0" dirty="0">
                          <a:solidFill>
                            <a:schemeClr val="tx1"/>
                          </a:solidFill>
                          <a:latin typeface="+mn-lt"/>
                        </a:rPr>
                        <a:t>Erick Winger</a:t>
                      </a:r>
                    </a:p>
                  </a:txBody>
                  <a:tcPr marL="45721" marR="0" marT="0" marB="0" anchor="ctr"/>
                </a:tc>
                <a:extLst>
                  <a:ext uri="{0D108BD9-81ED-4DB2-BD59-A6C34878D82A}">
                    <a16:rowId xmlns:a16="http://schemas.microsoft.com/office/drawing/2014/main" val="1752402044"/>
                  </a:ext>
                </a:extLst>
              </a:tr>
              <a:tr h="772160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b="1"/>
                        <a:t>3</a:t>
                      </a:r>
                      <a:endParaRPr lang="en-US" b="1" dirty="0"/>
                    </a:p>
                  </a:txBody>
                  <a:tcPr marL="45721" marR="0" marT="0" marB="0" anchor="ctr"/>
                </a:tc>
                <a:tc>
                  <a:txBody>
                    <a:bodyPr/>
                    <a:lstStyle/>
                    <a:p>
                      <a:pPr marL="182880" marR="0" lvl="0" indent="0" algn="l" defTabSz="48771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9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eceipt Accruals</a:t>
                      </a:r>
                    </a:p>
                  </a:txBody>
                  <a:tcPr marL="45721" marR="0" marT="0" marB="0" anchor="ctr"/>
                </a:tc>
                <a:tc>
                  <a:txBody>
                    <a:bodyPr/>
                    <a:lstStyle/>
                    <a:p>
                      <a:pPr marL="346075" marR="0" lvl="0" indent="-163195" algn="l" defTabSz="48771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900" b="0" kern="1200" cap="none" baseline="0" dirty="0">
                          <a:solidFill>
                            <a:schemeClr val="tx1"/>
                          </a:solidFill>
                          <a:latin typeface="+mn-lt"/>
                          <a:ea typeface="Open Sans"/>
                          <a:cs typeface="Open Sans"/>
                        </a:rPr>
                        <a:t>Purpose and impact of receipt accruals, year end reporting</a:t>
                      </a:r>
                    </a:p>
                  </a:txBody>
                  <a:tcPr marL="45721" marR="0" marT="0" marB="0" anchor="ctr"/>
                </a:tc>
                <a:tc>
                  <a:txBody>
                    <a:bodyPr/>
                    <a:lstStyle/>
                    <a:p>
                      <a:pPr marL="18288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900" b="0" kern="1200" cap="none" baseline="0" dirty="0">
                          <a:solidFill>
                            <a:schemeClr val="tx1"/>
                          </a:solidFill>
                          <a:latin typeface="+mn-lt"/>
                        </a:rPr>
                        <a:t>Erick Winger</a:t>
                      </a:r>
                    </a:p>
                  </a:txBody>
                  <a:tcPr marL="45721" marR="0" marT="0" marB="0" anchor="ctr"/>
                </a:tc>
                <a:extLst>
                  <a:ext uri="{0D108BD9-81ED-4DB2-BD59-A6C34878D82A}">
                    <a16:rowId xmlns:a16="http://schemas.microsoft.com/office/drawing/2014/main" val="1909524018"/>
                  </a:ext>
                </a:extLst>
              </a:tr>
            </a:tbl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9C5BA07C-1CDA-4EE3-9A65-D7E60573FE20}"/>
              </a:ext>
            </a:extLst>
          </p:cNvPr>
          <p:cNvSpPr txBox="1"/>
          <p:nvPr/>
        </p:nvSpPr>
        <p:spPr>
          <a:xfrm>
            <a:off x="4452238" y="7643598"/>
            <a:ext cx="262317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832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sng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4832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sng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2671138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54755" y="917324"/>
            <a:ext cx="10987896" cy="3757164"/>
          </a:xfrm>
        </p:spPr>
        <p:txBody>
          <a:bodyPr lIns="97536" tIns="48768" rIns="97536" bIns="48768" anchor="b"/>
          <a:lstStyle/>
          <a:p>
            <a:pPr marL="182880" marR="0" lvl="0" indent="0" algn="l" defTabSz="457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5400" b="1" dirty="0"/>
              <a:t>Year End Update</a:t>
            </a:r>
          </a:p>
        </p:txBody>
      </p:sp>
    </p:spTree>
    <p:extLst>
      <p:ext uri="{BB962C8B-B14F-4D97-AF65-F5344CB8AC3E}">
        <p14:creationId xmlns:p14="http://schemas.microsoft.com/office/powerpoint/2010/main" val="414937524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3616A7B-A91E-EEDD-AAEA-EBD8ADA878F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dirty="0"/>
              <a:t>Biennium/FY close legacy proces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8C2222F-5E67-50A6-31DF-254F9D5B26E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3436" y="985061"/>
            <a:ext cx="4176516" cy="6330139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99D54243-CE35-958F-AA77-37A991147B7E}"/>
              </a:ext>
            </a:extLst>
          </p:cNvPr>
          <p:cNvSpPr txBox="1"/>
          <p:nvPr/>
        </p:nvSpPr>
        <p:spPr>
          <a:xfrm>
            <a:off x="9793805" y="1764533"/>
            <a:ext cx="2803358" cy="12618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Note: Legacy cutoff dates for procurement type activity in June, and journal type activity in July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2243327-B3E3-9164-8B0A-14EE9DC981D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82229" y="985060"/>
            <a:ext cx="4102868" cy="63301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862221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5C6AF56-1979-BB7B-4297-78C967CADD0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dirty="0"/>
              <a:t>Current close calendar view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408FE61-F8F9-717B-31DE-EAC9626F603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2421" y="1110811"/>
            <a:ext cx="10575050" cy="60600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846208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9816B7B-40C3-FEEE-E766-935F997A230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fontScale="85000" lnSpcReduction="20000"/>
          </a:bodyPr>
          <a:lstStyle/>
          <a:p>
            <a:r>
              <a:rPr lang="en-US" sz="3900" b="1" dirty="0"/>
              <a:t>Year end close planning discussions (sample)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BA6A68B-F813-49D0-9A77-08E2C5966AF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13438" y="1145224"/>
            <a:ext cx="12007551" cy="5516247"/>
          </a:xfrm>
        </p:spPr>
        <p:txBody>
          <a:bodyPr lIns="91440" tIns="45720" rIns="91440" bIns="45720" anchor="t"/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2800" dirty="0">
                <a:effectLst/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rocurement – Initial meeting Wed 4/3 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2800" dirty="0">
                <a:effectLst/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Grants  – Initial meeting Thu 4/4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2800" dirty="0">
                <a:effectLst/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tudent Financial Services – Mon 4/8 @ 1:30PM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2800" dirty="0">
                <a:effectLst/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reasury – Mon 4/8 @ 2:30PM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2800" dirty="0">
                <a:effectLst/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ntegrations/SWIFT – Tue 4/9 @ 9AM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2800" dirty="0">
                <a:effectLst/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erchant Fees – Tue 4/9 @ 9:30AM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2800" dirty="0">
                <a:effectLst/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Banking – Thu 4/11 @ 8:30AM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2800" dirty="0">
                <a:effectLst/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ayroll – Thu 4/11 @ 4PM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2800" dirty="0">
                <a:effectLst/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IO – Fri 4/12 @ 9:30AM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2800" dirty="0">
                <a:effectLst/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ntegrations – Fri 4/12 @ 2PM</a:t>
            </a:r>
          </a:p>
          <a:p>
            <a:pPr marL="365760" indent="-365760" fontAlgn="t">
              <a:spcBef>
                <a:spcPts val="1200"/>
              </a:spcBef>
            </a:pPr>
            <a:endParaRPr lang="en-US" sz="2800" dirty="0">
              <a:latin typeface="Aptos" panose="020B0004020202020204" pitchFamily="34" charset="0"/>
              <a:ea typeface="Open Sans"/>
              <a:cs typeface="Calibri" panose="020F0502020204030204" pitchFamily="34" charset="0"/>
            </a:endParaRPr>
          </a:p>
          <a:p>
            <a:pPr marL="365760" indent="-365760" fontAlgn="t">
              <a:spcBef>
                <a:spcPts val="1200"/>
              </a:spcBef>
            </a:pPr>
            <a:r>
              <a:rPr lang="en-US" sz="2800" dirty="0">
                <a:latin typeface="Aptos" panose="020B0004020202020204" pitchFamily="34" charset="0"/>
                <a:ea typeface="Open Sans"/>
                <a:cs typeface="Calibri" panose="020F0502020204030204" pitchFamily="34" charset="0"/>
              </a:rPr>
              <a:t>More detailed calendar to be shared in May</a:t>
            </a:r>
            <a:endParaRPr lang="en-US" sz="2350" dirty="0">
              <a:latin typeface="Open Sans"/>
              <a:ea typeface="Open Sans"/>
              <a:cs typeface="Open Sans"/>
            </a:endParaRPr>
          </a:p>
          <a:p>
            <a:pPr marL="792480" lvl="1" indent="-304800">
              <a:spcBef>
                <a:spcPts val="1200"/>
              </a:spcBef>
              <a:buFont typeface="Courier New"/>
              <a:buChar char="o"/>
            </a:pPr>
            <a:endParaRPr lang="en-US" sz="2350" dirty="0">
              <a:latin typeface="Open Sans"/>
              <a:ea typeface="Open Sans"/>
              <a:cs typeface="Open Sans"/>
            </a:endParaRPr>
          </a:p>
        </p:txBody>
      </p:sp>
    </p:spTree>
    <p:extLst>
      <p:ext uri="{BB962C8B-B14F-4D97-AF65-F5344CB8AC3E}">
        <p14:creationId xmlns:p14="http://schemas.microsoft.com/office/powerpoint/2010/main" val="404375131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54755" y="917324"/>
            <a:ext cx="10987896" cy="3757164"/>
          </a:xfrm>
        </p:spPr>
        <p:txBody>
          <a:bodyPr lIns="97536" tIns="48768" rIns="97536" bIns="48768" anchor="b"/>
          <a:lstStyle/>
          <a:p>
            <a:pPr marL="182880" marR="0" lvl="0" indent="0" algn="l" defTabSz="457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5400" b="1" dirty="0"/>
              <a:t>Closing Out Grant (expense transfers)</a:t>
            </a:r>
          </a:p>
        </p:txBody>
      </p:sp>
    </p:spTree>
    <p:extLst>
      <p:ext uri="{BB962C8B-B14F-4D97-AF65-F5344CB8AC3E}">
        <p14:creationId xmlns:p14="http://schemas.microsoft.com/office/powerpoint/2010/main" val="376897413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2E7E941-6E12-21CE-4301-664D6776975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32C7263-8BCF-DD50-438D-AA982D9F4C4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fontScale="85000" lnSpcReduction="20000"/>
          </a:bodyPr>
          <a:lstStyle/>
          <a:p>
            <a:r>
              <a:rPr lang="en-US" sz="3900" b="1" dirty="0"/>
              <a:t>Grant close out – accounting adjustment vs. SE reclas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13FCED3-C64C-BB98-83FD-C56414EF2DD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13438" y="1145224"/>
            <a:ext cx="12007551" cy="5516247"/>
          </a:xfrm>
        </p:spPr>
        <p:txBody>
          <a:bodyPr lIns="91440" tIns="45720" rIns="91440" bIns="45720" anchor="t"/>
          <a:lstStyle/>
          <a:p>
            <a:pPr marL="0" marR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800" dirty="0"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xample: </a:t>
            </a:r>
            <a:r>
              <a:rPr lang="en-US" sz="2800" dirty="0">
                <a:effectLst/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 charge is placed off the grant on a non-federal placeholder </a:t>
            </a:r>
          </a:p>
          <a:p>
            <a:pPr marL="0" marR="0" indent="0">
              <a:spcBef>
                <a:spcPts val="0"/>
              </a:spcBef>
              <a:spcAft>
                <a:spcPts val="0"/>
              </a:spcAft>
              <a:buNone/>
            </a:pPr>
            <a:endParaRPr lang="en-US" sz="2800" dirty="0">
              <a:latin typeface="Aptos" panose="020B000402020202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marR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800" dirty="0">
                <a:effectLst/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ince accounting adjustments can’t be split (we can not take a fully debited expense and then transfer 20% of the non-federal placeholder to a grant and 80% to ICR).  What is best practice?:</a:t>
            </a: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+mj-lt"/>
              <a:buAutoNum type="alphaLcParenR"/>
            </a:pPr>
            <a:r>
              <a:rPr lang="en-US" sz="2800" b="1" dirty="0">
                <a:solidFill>
                  <a:srgbClr val="FF0000"/>
                </a:solidFill>
                <a:effectLst/>
                <a:latin typeface="Aptos" panose="020B000402020202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Do a shared environment reclass even in the close of a grant? Are there flags especially since the shared environment reclass doesn’t easily tie back to the original transaction – Preferred for amount accuracy, needs support/explanation, use original transaction reference in the line memo</a:t>
            </a:r>
            <a:endParaRPr lang="en-US" sz="2800" b="1" dirty="0">
              <a:solidFill>
                <a:srgbClr val="FF0000"/>
              </a:solidFill>
              <a:effectLst/>
              <a:latin typeface="Aptos" panose="020B000402020202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+mj-lt"/>
              <a:buAutoNum type="alphaLcParenR"/>
            </a:pPr>
            <a:r>
              <a:rPr lang="en-US" sz="2800" dirty="0">
                <a:effectLst/>
                <a:latin typeface="Aptos" panose="020B000402020202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Do an accounting adjustment for the full amount which puts the grant in deficit and then ask GCA to perform a deficit transfer at the close of the grant</a:t>
            </a:r>
            <a:endParaRPr lang="en-US" sz="2800" dirty="0">
              <a:effectLst/>
              <a:latin typeface="Aptos" panose="020B000402020202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9773600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C04852B-2F22-B645-4D53-001D9CF0F13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9DBBE23-71C3-B9EE-38FB-5B8B59B1C0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4755" y="917324"/>
            <a:ext cx="10987896" cy="3757164"/>
          </a:xfrm>
        </p:spPr>
        <p:txBody>
          <a:bodyPr lIns="97536" tIns="48768" rIns="97536" bIns="48768" anchor="b"/>
          <a:lstStyle/>
          <a:p>
            <a:pPr marL="182880" marR="0" lvl="0" indent="0" algn="l" defTabSz="457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5400" b="1" dirty="0"/>
              <a:t>Receipt Accruals</a:t>
            </a:r>
          </a:p>
        </p:txBody>
      </p:sp>
    </p:spTree>
    <p:extLst>
      <p:ext uri="{BB962C8B-B14F-4D97-AF65-F5344CB8AC3E}">
        <p14:creationId xmlns:p14="http://schemas.microsoft.com/office/powerpoint/2010/main" val="5378472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UWFT_White">
  <a:themeElements>
    <a:clrScheme name="4b2e83 1">
      <a:dk1>
        <a:srgbClr val="4B2E83"/>
      </a:dk1>
      <a:lt1>
        <a:srgbClr val="E8D3A2"/>
      </a:lt1>
      <a:dk2>
        <a:srgbClr val="4B2E83"/>
      </a:dk2>
      <a:lt2>
        <a:srgbClr val="FFFFFF"/>
      </a:lt2>
      <a:accent1>
        <a:srgbClr val="4B2E83"/>
      </a:accent1>
      <a:accent2>
        <a:srgbClr val="E8D3A2"/>
      </a:accent2>
      <a:accent3>
        <a:srgbClr val="FFFFFF"/>
      </a:accent3>
      <a:accent4>
        <a:srgbClr val="B2B2B2"/>
      </a:accent4>
      <a:accent5>
        <a:srgbClr val="26005C"/>
      </a:accent5>
      <a:accent6>
        <a:srgbClr val="917B4C"/>
      </a:accent6>
      <a:hlink>
        <a:srgbClr val="26005C"/>
      </a:hlink>
      <a:folHlink>
        <a:srgbClr val="33006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0.xml><?xml version="1.0" encoding="utf-8"?>
<a:theme xmlns:a="http://schemas.openxmlformats.org/drawingml/2006/main" name="1_Custom Design">
  <a:themeElements>
    <a:clrScheme name="4b2e83 1">
      <a:dk1>
        <a:srgbClr val="4B2E83"/>
      </a:dk1>
      <a:lt1>
        <a:srgbClr val="E8D3A2"/>
      </a:lt1>
      <a:dk2>
        <a:srgbClr val="4B2E83"/>
      </a:dk2>
      <a:lt2>
        <a:srgbClr val="FFFFFF"/>
      </a:lt2>
      <a:accent1>
        <a:srgbClr val="4B2E83"/>
      </a:accent1>
      <a:accent2>
        <a:srgbClr val="E8D3A2"/>
      </a:accent2>
      <a:accent3>
        <a:srgbClr val="FFFFFF"/>
      </a:accent3>
      <a:accent4>
        <a:srgbClr val="B2B2B2"/>
      </a:accent4>
      <a:accent5>
        <a:srgbClr val="26005C"/>
      </a:accent5>
      <a:accent6>
        <a:srgbClr val="917B4C"/>
      </a:accent6>
      <a:hlink>
        <a:srgbClr val="26005C"/>
      </a:hlink>
      <a:folHlink>
        <a:srgbClr val="33006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1.xml><?xml version="1.0" encoding="utf-8"?>
<a:theme xmlns:a="http://schemas.openxmlformats.org/drawingml/2006/main" name="2_Custom Design">
  <a:themeElements>
    <a:clrScheme name="4b2e83">
      <a:dk1>
        <a:srgbClr val="4B2E83"/>
      </a:dk1>
      <a:lt1>
        <a:srgbClr val="E8D3A2"/>
      </a:lt1>
      <a:dk2>
        <a:srgbClr val="4B2E83"/>
      </a:dk2>
      <a:lt2>
        <a:srgbClr val="FFFFFF"/>
      </a:lt2>
      <a:accent1>
        <a:srgbClr val="4B2E83"/>
      </a:accent1>
      <a:accent2>
        <a:srgbClr val="E8D3A2"/>
      </a:accent2>
      <a:accent3>
        <a:srgbClr val="FFFFFF"/>
      </a:accent3>
      <a:accent4>
        <a:srgbClr val="D8D9DA"/>
      </a:accent4>
      <a:accent5>
        <a:srgbClr val="999999"/>
      </a:accent5>
      <a:accent6>
        <a:srgbClr val="917B4C"/>
      </a:accent6>
      <a:hlink>
        <a:srgbClr val="D8D9DA"/>
      </a:hlink>
      <a:folHlink>
        <a:srgbClr val="999999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2.xml><?xml version="1.0" encoding="utf-8"?>
<a:theme xmlns:a="http://schemas.openxmlformats.org/drawingml/2006/main" name="9_UWFT_White_Theme">
  <a:themeElements>
    <a:clrScheme name="UWFT Brand Colors">
      <a:dk1>
        <a:srgbClr val="4B2E83"/>
      </a:dk1>
      <a:lt1>
        <a:srgbClr val="E8D3A2"/>
      </a:lt1>
      <a:dk2>
        <a:srgbClr val="4B2E83"/>
      </a:dk2>
      <a:lt2>
        <a:srgbClr val="FFFFFF"/>
      </a:lt2>
      <a:accent1>
        <a:srgbClr val="917B4C"/>
      </a:accent1>
      <a:accent2>
        <a:srgbClr val="483675"/>
      </a:accent2>
      <a:accent3>
        <a:srgbClr val="005D5E"/>
      </a:accent3>
      <a:accent4>
        <a:srgbClr val="D24310"/>
      </a:accent4>
      <a:accent5>
        <a:srgbClr val="FFC700"/>
      </a:accent5>
      <a:accent6>
        <a:srgbClr val="236092"/>
      </a:accent6>
      <a:hlink>
        <a:srgbClr val="917B4C"/>
      </a:hlink>
      <a:folHlink>
        <a:srgbClr val="999999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UWFT PowerPoint Template" id="{65816316-F4C3-4EB9-BC20-4A719C1CC025}" vid="{AF4ED3B3-46E5-44EB-BA1C-13D68E2EAEF5}"/>
    </a:ext>
  </a:extLst>
</a:theme>
</file>

<file path=ppt/theme/theme13.xml><?xml version="1.0" encoding="utf-8"?>
<a:theme xmlns:a="http://schemas.openxmlformats.org/drawingml/2006/main" name="3_Custom Design">
  <a:themeElements>
    <a:clrScheme name="Custom 2">
      <a:dk1>
        <a:srgbClr val="4B2E83"/>
      </a:dk1>
      <a:lt1>
        <a:srgbClr val="E8D3A2"/>
      </a:lt1>
      <a:dk2>
        <a:srgbClr val="4B2E83"/>
      </a:dk2>
      <a:lt2>
        <a:srgbClr val="FFFFFF"/>
      </a:lt2>
      <a:accent1>
        <a:srgbClr val="4B2E83"/>
      </a:accent1>
      <a:accent2>
        <a:srgbClr val="E8D3A2"/>
      </a:accent2>
      <a:accent3>
        <a:srgbClr val="FFFFFF"/>
      </a:accent3>
      <a:accent4>
        <a:srgbClr val="D8D9DA"/>
      </a:accent4>
      <a:accent5>
        <a:srgbClr val="999999"/>
      </a:accent5>
      <a:accent6>
        <a:srgbClr val="917B4C"/>
      </a:accent6>
      <a:hlink>
        <a:srgbClr val="D8D9DA"/>
      </a:hlink>
      <a:folHlink>
        <a:srgbClr val="999999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1_Custom Design">
  <a:themeElements>
    <a:clrScheme name="Custom 2">
      <a:dk1>
        <a:srgbClr val="4B2E83"/>
      </a:dk1>
      <a:lt1>
        <a:srgbClr val="E8D3A2"/>
      </a:lt1>
      <a:dk2>
        <a:srgbClr val="4B2E83"/>
      </a:dk2>
      <a:lt2>
        <a:srgbClr val="FFFFFF"/>
      </a:lt2>
      <a:accent1>
        <a:srgbClr val="4B2E83"/>
      </a:accent1>
      <a:accent2>
        <a:srgbClr val="E8D3A2"/>
      </a:accent2>
      <a:accent3>
        <a:srgbClr val="FFFFFF"/>
      </a:accent3>
      <a:accent4>
        <a:srgbClr val="D8D9DA"/>
      </a:accent4>
      <a:accent5>
        <a:srgbClr val="999999"/>
      </a:accent5>
      <a:accent6>
        <a:srgbClr val="917B4C"/>
      </a:accent6>
      <a:hlink>
        <a:srgbClr val="D8D9DA"/>
      </a:hlink>
      <a:folHlink>
        <a:srgbClr val="999999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UWFT_PPT_Template_16x9" id="{8453513C-7EF4-4DCB-B625-DCA7404BE781}" vid="{550FF814-CEB0-44DC-A186-E7DF750C1D86}"/>
    </a:ext>
  </a:extLst>
</a:theme>
</file>

<file path=ppt/theme/theme3.xml><?xml version="1.0" encoding="utf-8"?>
<a:theme xmlns:a="http://schemas.openxmlformats.org/drawingml/2006/main" name="UWFT_Purple_Theme">
  <a:themeElements>
    <a:clrScheme name="UWFT Color Theme">
      <a:dk1>
        <a:srgbClr val="4B2E83"/>
      </a:dk1>
      <a:lt1>
        <a:srgbClr val="E8D3A2"/>
      </a:lt1>
      <a:dk2>
        <a:srgbClr val="4B2E83"/>
      </a:dk2>
      <a:lt2>
        <a:srgbClr val="FFFFFF"/>
      </a:lt2>
      <a:accent1>
        <a:srgbClr val="917B4C"/>
      </a:accent1>
      <a:accent2>
        <a:srgbClr val="483675"/>
      </a:accent2>
      <a:accent3>
        <a:srgbClr val="005D5E"/>
      </a:accent3>
      <a:accent4>
        <a:srgbClr val="D24310"/>
      </a:accent4>
      <a:accent5>
        <a:srgbClr val="FFC700"/>
      </a:accent5>
      <a:accent6>
        <a:srgbClr val="236092"/>
      </a:accent6>
      <a:hlink>
        <a:srgbClr val="917B4C"/>
      </a:hlink>
      <a:folHlink>
        <a:srgbClr val="999999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UWFT PowerPoint Template" id="{65816316-F4C3-4EB9-BC20-4A719C1CC025}" vid="{92EF4E4C-2DFC-4279-89D6-6125E3B7D4FD}"/>
    </a:ext>
  </a:extLst>
</a:theme>
</file>

<file path=ppt/theme/theme4.xml><?xml version="1.0" encoding="utf-8"?>
<a:theme xmlns:a="http://schemas.openxmlformats.org/drawingml/2006/main" name="8_UWFT_White_Theme">
  <a:themeElements>
    <a:clrScheme name="UWFT Brand Colors">
      <a:dk1>
        <a:srgbClr val="4B2E83"/>
      </a:dk1>
      <a:lt1>
        <a:srgbClr val="E8D3A2"/>
      </a:lt1>
      <a:dk2>
        <a:srgbClr val="4B2E83"/>
      </a:dk2>
      <a:lt2>
        <a:srgbClr val="FFFFFF"/>
      </a:lt2>
      <a:accent1>
        <a:srgbClr val="917B4C"/>
      </a:accent1>
      <a:accent2>
        <a:srgbClr val="483675"/>
      </a:accent2>
      <a:accent3>
        <a:srgbClr val="005D5E"/>
      </a:accent3>
      <a:accent4>
        <a:srgbClr val="D24310"/>
      </a:accent4>
      <a:accent5>
        <a:srgbClr val="FFC700"/>
      </a:accent5>
      <a:accent6>
        <a:srgbClr val="236092"/>
      </a:accent6>
      <a:hlink>
        <a:srgbClr val="917B4C"/>
      </a:hlink>
      <a:folHlink>
        <a:srgbClr val="999999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Change Impact Assessment Deliverable Kick Off_v2.potx  -  Read-Only" id="{BF8822CC-A693-432F-A260-1B81BAB156C6}" vid="{3DA52278-C50B-497B-99FD-017F36DB303D}"/>
    </a:ext>
  </a:extLst>
</a:theme>
</file>

<file path=ppt/theme/theme5.xml><?xml version="1.0" encoding="utf-8"?>
<a:theme xmlns:a="http://schemas.openxmlformats.org/drawingml/2006/main" name="19_Custom Design">
  <a:themeElements>
    <a:clrScheme name="Custom 2">
      <a:dk1>
        <a:srgbClr val="33006F"/>
      </a:dk1>
      <a:lt1>
        <a:srgbClr val="E8D3A2"/>
      </a:lt1>
      <a:dk2>
        <a:srgbClr val="33006F"/>
      </a:dk2>
      <a:lt2>
        <a:srgbClr val="FFFFFF"/>
      </a:lt2>
      <a:accent1>
        <a:srgbClr val="33006F"/>
      </a:accent1>
      <a:accent2>
        <a:srgbClr val="E8D3A2"/>
      </a:accent2>
      <a:accent3>
        <a:srgbClr val="FFFFFF"/>
      </a:accent3>
      <a:accent4>
        <a:srgbClr val="D8D9DA"/>
      </a:accent4>
      <a:accent5>
        <a:srgbClr val="999999"/>
      </a:accent5>
      <a:accent6>
        <a:srgbClr val="917B4C"/>
      </a:accent6>
      <a:hlink>
        <a:srgbClr val="D4AD53"/>
      </a:hlink>
      <a:folHlink>
        <a:srgbClr val="72727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UWFT_White_Theme">
  <a:themeElements>
    <a:clrScheme name="UWFT Brand Colors">
      <a:dk1>
        <a:srgbClr val="4B2E83"/>
      </a:dk1>
      <a:lt1>
        <a:srgbClr val="E8D3A2"/>
      </a:lt1>
      <a:dk2>
        <a:srgbClr val="4B2E83"/>
      </a:dk2>
      <a:lt2>
        <a:srgbClr val="FFFFFF"/>
      </a:lt2>
      <a:accent1>
        <a:srgbClr val="917B4C"/>
      </a:accent1>
      <a:accent2>
        <a:srgbClr val="483675"/>
      </a:accent2>
      <a:accent3>
        <a:srgbClr val="005D5E"/>
      </a:accent3>
      <a:accent4>
        <a:srgbClr val="D24310"/>
      </a:accent4>
      <a:accent5>
        <a:srgbClr val="FFC700"/>
      </a:accent5>
      <a:accent6>
        <a:srgbClr val="236092"/>
      </a:accent6>
      <a:hlink>
        <a:srgbClr val="917B4C"/>
      </a:hlink>
      <a:folHlink>
        <a:srgbClr val="999999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UWFT PowerPoint Template" id="{65816316-F4C3-4EB9-BC20-4A719C1CC025}" vid="{AF4ED3B3-46E5-44EB-BA1C-13D68E2EAEF5}"/>
    </a:ext>
  </a:extLst>
</a:theme>
</file>

<file path=ppt/theme/theme7.xml><?xml version="1.0" encoding="utf-8"?>
<a:theme xmlns:a="http://schemas.openxmlformats.org/drawingml/2006/main" name="White_Custom Design UWFT">
  <a:themeElements>
    <a:clrScheme name="Custom 2">
      <a:dk1>
        <a:srgbClr val="4B2E83"/>
      </a:dk1>
      <a:lt1>
        <a:srgbClr val="E8D3A2"/>
      </a:lt1>
      <a:dk2>
        <a:srgbClr val="4B2E83"/>
      </a:dk2>
      <a:lt2>
        <a:srgbClr val="FFFFFF"/>
      </a:lt2>
      <a:accent1>
        <a:srgbClr val="4B2E83"/>
      </a:accent1>
      <a:accent2>
        <a:srgbClr val="E8D3A2"/>
      </a:accent2>
      <a:accent3>
        <a:srgbClr val="FFFFFF"/>
      </a:accent3>
      <a:accent4>
        <a:srgbClr val="D8D9DA"/>
      </a:accent4>
      <a:accent5>
        <a:srgbClr val="999999"/>
      </a:accent5>
      <a:accent6>
        <a:srgbClr val="917B4C"/>
      </a:accent6>
      <a:hlink>
        <a:srgbClr val="D8D9DA"/>
      </a:hlink>
      <a:folHlink>
        <a:srgbClr val="999999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UWFT_PPT_Template_16x9" id="{8453513C-7EF4-4DCB-B625-DCA7404BE781}" vid="{550FF814-CEB0-44DC-A186-E7DF750C1D86}"/>
    </a:ext>
  </a:extLst>
</a:theme>
</file>

<file path=ppt/theme/theme8.xml><?xml version="1.0" encoding="utf-8"?>
<a:theme xmlns:a="http://schemas.openxmlformats.org/drawingml/2006/main" name="UWFT_White">
  <a:themeElements>
    <a:clrScheme name="4b2e83 1">
      <a:dk1>
        <a:srgbClr val="4B2E83"/>
      </a:dk1>
      <a:lt1>
        <a:srgbClr val="E8D3A2"/>
      </a:lt1>
      <a:dk2>
        <a:srgbClr val="4B2E83"/>
      </a:dk2>
      <a:lt2>
        <a:srgbClr val="FFFFFF"/>
      </a:lt2>
      <a:accent1>
        <a:srgbClr val="4B2E83"/>
      </a:accent1>
      <a:accent2>
        <a:srgbClr val="E8D3A2"/>
      </a:accent2>
      <a:accent3>
        <a:srgbClr val="FFFFFF"/>
      </a:accent3>
      <a:accent4>
        <a:srgbClr val="B2B2B2"/>
      </a:accent4>
      <a:accent5>
        <a:srgbClr val="26005C"/>
      </a:accent5>
      <a:accent6>
        <a:srgbClr val="917B4C"/>
      </a:accent6>
      <a:hlink>
        <a:srgbClr val="26005C"/>
      </a:hlink>
      <a:folHlink>
        <a:srgbClr val="33006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9.xml><?xml version="1.0" encoding="utf-8"?>
<a:theme xmlns:a="http://schemas.openxmlformats.org/drawingml/2006/main" name="Custom Design">
  <a:themeElements>
    <a:clrScheme name="UW Brand">
      <a:dk1>
        <a:srgbClr val="33006F"/>
      </a:dk1>
      <a:lt1>
        <a:srgbClr val="E8D3A2"/>
      </a:lt1>
      <a:dk2>
        <a:srgbClr val="33006F"/>
      </a:dk2>
      <a:lt2>
        <a:srgbClr val="FFFFFF"/>
      </a:lt2>
      <a:accent1>
        <a:srgbClr val="33006F"/>
      </a:accent1>
      <a:accent2>
        <a:srgbClr val="E8D3A2"/>
      </a:accent2>
      <a:accent3>
        <a:srgbClr val="FFFFFF"/>
      </a:accent3>
      <a:accent4>
        <a:srgbClr val="D8D9DA"/>
      </a:accent4>
      <a:accent5>
        <a:srgbClr val="999999"/>
      </a:accent5>
      <a:accent6>
        <a:srgbClr val="917B4C"/>
      </a:accent6>
      <a:hlink>
        <a:srgbClr val="D8D9DA"/>
      </a:hlink>
      <a:folHlink>
        <a:srgbClr val="999999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0E5E4E48944904EA29CA8A60EB3DD4A" ma:contentTypeVersion="13" ma:contentTypeDescription="Create a new document." ma:contentTypeScope="" ma:versionID="4f0f2dbd5de7a0f18cac2cf6e2ecc56b">
  <xsd:schema xmlns:xsd="http://www.w3.org/2001/XMLSchema" xmlns:xs="http://www.w3.org/2001/XMLSchema" xmlns:p="http://schemas.microsoft.com/office/2006/metadata/properties" xmlns:ns2="6c58eb10-3e4a-46ae-adb6-5cb727f0709d" xmlns:ns3="2ddf6f93-9cf0-4fb3-acb7-352a87fed0bf" targetNamespace="http://schemas.microsoft.com/office/2006/metadata/properties" ma:root="true" ma:fieldsID="8436285ae3b2a65ed5da63e2d578f516" ns2:_="" ns3:_="">
    <xsd:import namespace="6c58eb10-3e4a-46ae-adb6-5cb727f0709d"/>
    <xsd:import namespace="2ddf6f93-9cf0-4fb3-acb7-352a87fed0bf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SearchProperties" minOccurs="0"/>
                <xsd:element ref="ns3:MediaServiceObjectDetectorVersions" minOccurs="0"/>
                <xsd:element ref="ns3:MediaServiceDateTaken" minOccurs="0"/>
                <xsd:element ref="ns3:MediaServiceGenerationTime" minOccurs="0"/>
                <xsd:element ref="ns3:MediaServiceEventHashCode" minOccurs="0"/>
                <xsd:element ref="ns3:MediaLengthInSeconds" minOccurs="0"/>
                <xsd:element ref="ns3:lcf76f155ced4ddcb4097134ff3c332f" minOccurs="0"/>
                <xsd:element ref="ns3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c58eb10-3e4a-46ae-adb6-5cb727f0709d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ddf6f93-9cf0-4fb3-acb7-352a87fed0b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2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4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9" nillable="true" ma:taxonomy="true" ma:internalName="lcf76f155ced4ddcb4097134ff3c332f" ma:taxonomyFieldName="MediaServiceImageTags" ma:displayName="Image Tags" ma:readOnly="false" ma:fieldId="{5cf76f15-5ced-4ddc-b409-7134ff3c332f}" ma:taxonomyMulti="true" ma:sspId="e20148b9-20a4-48a0-acba-ba52d68a37a3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6c58eb10-3e4a-46ae-adb6-5cb727f0709d">
      <UserInfo>
        <DisplayName>Mary Esther</DisplayName>
        <AccountId>171</AccountId>
        <AccountType/>
      </UserInfo>
    </SharedWithUsers>
    <lcf76f155ced4ddcb4097134ff3c332f xmlns="2ddf6f93-9cf0-4fb3-acb7-352a87fed0bf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33E4E443-78F3-4111-999F-68B3E8F21E4F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27E2350-9A08-4842-BB4C-B52FA540394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c58eb10-3e4a-46ae-adb6-5cb727f0709d"/>
    <ds:schemaRef ds:uri="2ddf6f93-9cf0-4fb3-acb7-352a87fed0b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0627C088-0680-4C99-AF9D-5C6550C1D7C7}">
  <ds:schemaRefs>
    <ds:schemaRef ds:uri="6c58eb10-3e4a-46ae-adb6-5cb727f0709d"/>
    <ds:schemaRef ds:uri="http://purl.org/dc/dcmitype/"/>
    <ds:schemaRef ds:uri="http://purl.org/dc/terms/"/>
    <ds:schemaRef ds:uri="http://www.w3.org/XML/1998/namespace"/>
    <ds:schemaRef ds:uri="http://schemas.microsoft.com/office/2006/documentManagement/types"/>
    <ds:schemaRef ds:uri="http://purl.org/dc/elements/1.1/"/>
    <ds:schemaRef ds:uri="2ddf6f93-9cf0-4fb3-acb7-352a87fed0bf"/>
    <ds:schemaRef ds:uri="http://schemas.microsoft.com/office/infopath/2007/PartnerControls"/>
    <ds:schemaRef ds:uri="http://schemas.openxmlformats.org/package/2006/metadata/core-properties"/>
    <ds:schemaRef ds:uri="http://schemas.microsoft.com/office/2006/metadata/properties"/>
  </ds:schemaRefs>
</ds:datastoreItem>
</file>

<file path=docMetadata/LabelInfo.xml><?xml version="1.0" encoding="utf-8"?>
<clbl:labelList xmlns:clbl="http://schemas.microsoft.com/office/2020/mipLabelMetadata">
  <clbl:label id="{f6b6dd5b-f02f-441a-99a0-162ac5060bd2}" enabled="0" method="" siteId="{f6b6dd5b-f02f-441a-99a0-162ac5060bd2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689</Words>
  <Application>Microsoft Office PowerPoint</Application>
  <PresentationFormat>Custom</PresentationFormat>
  <Paragraphs>98</Paragraphs>
  <Slides>19</Slides>
  <Notes>13</Notes>
  <HiddenSlides>0</HiddenSlides>
  <MMClips>0</MMClips>
  <ScaleCrop>false</ScaleCrop>
  <HeadingPairs>
    <vt:vector size="8" baseType="variant">
      <vt:variant>
        <vt:lpstr>Fonts Used</vt:lpstr>
      </vt:variant>
      <vt:variant>
        <vt:i4>16</vt:i4>
      </vt:variant>
      <vt:variant>
        <vt:lpstr>Theme</vt:lpstr>
      </vt:variant>
      <vt:variant>
        <vt:i4>1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49" baseType="lpstr">
      <vt:lpstr>Aptos</vt:lpstr>
      <vt:lpstr>Arial</vt:lpstr>
      <vt:lpstr>Arial Black</vt:lpstr>
      <vt:lpstr>Calibri</vt:lpstr>
      <vt:lpstr>Calibri Light</vt:lpstr>
      <vt:lpstr>Courier New</vt:lpstr>
      <vt:lpstr>Encode Sans Black</vt:lpstr>
      <vt:lpstr>Encode Sans Normal</vt:lpstr>
      <vt:lpstr>Encode Sans Normal Black</vt:lpstr>
      <vt:lpstr>Lucida Grande</vt:lpstr>
      <vt:lpstr>Nexa Black</vt:lpstr>
      <vt:lpstr>Open Sans</vt:lpstr>
      <vt:lpstr>Open Sans Light</vt:lpstr>
      <vt:lpstr>Uni Sans</vt:lpstr>
      <vt:lpstr>Uni Sans Book</vt:lpstr>
      <vt:lpstr>Uni Sans Regular</vt:lpstr>
      <vt:lpstr>1_UWFT_White</vt:lpstr>
      <vt:lpstr>1_Custom Design</vt:lpstr>
      <vt:lpstr>UWFT_Purple_Theme</vt:lpstr>
      <vt:lpstr>8_UWFT_White_Theme</vt:lpstr>
      <vt:lpstr>19_Custom Design</vt:lpstr>
      <vt:lpstr>UWFT_White_Theme</vt:lpstr>
      <vt:lpstr>White_Custom Design UWFT</vt:lpstr>
      <vt:lpstr>UWFT_White</vt:lpstr>
      <vt:lpstr>Custom Design</vt:lpstr>
      <vt:lpstr>1_Custom Design</vt:lpstr>
      <vt:lpstr>2_Custom Design</vt:lpstr>
      <vt:lpstr>9_UWFT_White_Theme</vt:lpstr>
      <vt:lpstr>3_Custom Design</vt:lpstr>
      <vt:lpstr>think-cell Slide</vt:lpstr>
      <vt:lpstr>Shared Environment accounting forum</vt:lpstr>
      <vt:lpstr>PowerPoint Presentation</vt:lpstr>
      <vt:lpstr>Year End Update</vt:lpstr>
      <vt:lpstr>PowerPoint Presentation</vt:lpstr>
      <vt:lpstr>PowerPoint Presentation</vt:lpstr>
      <vt:lpstr>PowerPoint Presentation</vt:lpstr>
      <vt:lpstr>Closing Out Grant (expense transfers)</vt:lpstr>
      <vt:lpstr>PowerPoint Presentation</vt:lpstr>
      <vt:lpstr>Receipt Accrual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Reference documents – </vt:lpstr>
      <vt:lpstr>SE Accounting Forum Web Page –  Decks &amp; Recordings https://finance.uw.edu/fr/node/87 Finance&gt; Financial Reporting&gt; Shared Environment Accounting Forum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perating Model Master Plan/Architect Phases</dc:title>
  <dc:creator/>
  <cp:keywords/>
  <cp:lastModifiedBy/>
  <cp:revision>1383</cp:revision>
  <dcterms:modified xsi:type="dcterms:W3CDTF">2024-04-09T16:57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  <property fmtid="{D5CDD505-2E9C-101B-9397-08002B2CF9AE}" pid="3" name="StatusInfo">
    <vt:lpwstr>None</vt:lpwstr>
  </property>
  <property fmtid="{D5CDD505-2E9C-101B-9397-08002B2CF9AE}" pid="4" name="ProgMgtType">
    <vt:lpwstr>Meeting Materials</vt:lpwstr>
  </property>
  <property fmtid="{D5CDD505-2E9C-101B-9397-08002B2CF9AE}" pid="5" name="Meeting Material">
    <vt:lpwstr>Background Information</vt:lpwstr>
  </property>
  <property fmtid="{D5CDD505-2E9C-101B-9397-08002B2CF9AE}" pid="6" name="Scheduled Meeting Date">
    <vt:filetime>2019-02-06T19:03:37Z</vt:filetime>
  </property>
  <property fmtid="{D5CDD505-2E9C-101B-9397-08002B2CF9AE}" pid="7" name="MeetingCat">
    <vt:lpwstr>Workshop</vt:lpwstr>
  </property>
  <property fmtid="{D5CDD505-2E9C-101B-9397-08002B2CF9AE}" pid="8" name="AuthorIds_UIVersion_1024">
    <vt:lpwstr>69</vt:lpwstr>
  </property>
  <property fmtid="{D5CDD505-2E9C-101B-9397-08002B2CF9AE}" pid="9" name="General Topics">
    <vt:lpwstr>NONE</vt:lpwstr>
  </property>
  <property fmtid="{D5CDD505-2E9C-101B-9397-08002B2CF9AE}" pid="10" name="E2E Process">
    <vt:lpwstr>NONE</vt:lpwstr>
  </property>
  <property fmtid="{D5CDD505-2E9C-101B-9397-08002B2CF9AE}" pid="11" name="Info Type">
    <vt:lpwstr>NONE</vt:lpwstr>
  </property>
  <property fmtid="{D5CDD505-2E9C-101B-9397-08002B2CF9AE}" pid="12" name="Workstream">
    <vt:lpwstr>Operating/Support Model</vt:lpwstr>
  </property>
  <property fmtid="{D5CDD505-2E9C-101B-9397-08002B2CF9AE}" pid="13" name="Effort">
    <vt:lpwstr>130;#Op Model Working Group|1728cf52-e909-4b0f-bd23-5265ebd3f340</vt:lpwstr>
  </property>
  <property fmtid="{D5CDD505-2E9C-101B-9397-08002B2CF9AE}" pid="14" name="End to End Process">
    <vt:lpwstr/>
  </property>
  <property fmtid="{D5CDD505-2E9C-101B-9397-08002B2CF9AE}" pid="15" name="Key Doc">
    <vt:lpwstr>No</vt:lpwstr>
  </property>
  <property fmtid="{D5CDD505-2E9C-101B-9397-08002B2CF9AE}" pid="16" name="X-Functional">
    <vt:lpwstr>No</vt:lpwstr>
  </property>
  <property fmtid="{D5CDD505-2E9C-101B-9397-08002B2CF9AE}" pid="17" name="AuthorIds_UIVersion_11264">
    <vt:lpwstr>29</vt:lpwstr>
  </property>
  <property fmtid="{D5CDD505-2E9C-101B-9397-08002B2CF9AE}" pid="18" name="Doc Type">
    <vt:lpwstr>38;#Meeting Material|5ca797d6-ec80-41a8-bbd5-b5d7ff016b8a</vt:lpwstr>
  </property>
  <property fmtid="{D5CDD505-2E9C-101B-9397-08002B2CF9AE}" pid="19" name="AuthorIds_UIVersion_13312">
    <vt:lpwstr>69</vt:lpwstr>
  </property>
  <property fmtid="{D5CDD505-2E9C-101B-9397-08002B2CF9AE}" pid="20" name="FT Help Flag">
    <vt:lpwstr/>
  </property>
  <property fmtid="{D5CDD505-2E9C-101B-9397-08002B2CF9AE}" pid="21" name="Type of Document">
    <vt:lpwstr>455;#Template|ab09379f-8e9c-4109-ac8e-967692de8f42</vt:lpwstr>
  </property>
  <property fmtid="{D5CDD505-2E9C-101B-9397-08002B2CF9AE}" pid="22" name="Process Areas">
    <vt:lpwstr/>
  </property>
  <property fmtid="{D5CDD505-2E9C-101B-9397-08002B2CF9AE}" pid="23" name="OCM PIllars">
    <vt:lpwstr/>
  </property>
  <property fmtid="{D5CDD505-2E9C-101B-9397-08002B2CF9AE}" pid="24" name="IT Pillars">
    <vt:lpwstr/>
  </property>
  <property fmtid="{D5CDD505-2E9C-101B-9397-08002B2CF9AE}" pid="25" name="Move">
    <vt:lpwstr>UWFT Documents</vt:lpwstr>
  </property>
  <property fmtid="{D5CDD505-2E9C-101B-9397-08002B2CF9AE}" pid="26" name="n259a89570034573aee561765ba8e8fd">
    <vt:lpwstr>Op Model Working Group|1728cf52-e909-4b0f-bd23-5265ebd3f340</vt:lpwstr>
  </property>
  <property fmtid="{D5CDD505-2E9C-101B-9397-08002B2CF9AE}" pid="27" name="c1c28741c3ce488a89a9527edba98201">
    <vt:lpwstr/>
  </property>
  <property fmtid="{D5CDD505-2E9C-101B-9397-08002B2CF9AE}" pid="28" name="k9c4bf066cb5458da15ef6f4eaf30b30">
    <vt:lpwstr/>
  </property>
  <property fmtid="{D5CDD505-2E9C-101B-9397-08002B2CF9AE}" pid="29" name="a8521ba342074cdb909d922726f92453">
    <vt:lpwstr>Meeting Material|5ca797d6-ec80-41a8-bbd5-b5d7ff016b8a</vt:lpwstr>
  </property>
  <property fmtid="{D5CDD505-2E9C-101B-9397-08002B2CF9AE}" pid="30" name="SB Deliverables">
    <vt:lpwstr>583;#TBD Effort|ac059e7d-4f3a-4f3a-aae6-1959af6dadf3</vt:lpwstr>
  </property>
  <property fmtid="{D5CDD505-2E9C-101B-9397-08002B2CF9AE}" pid="31" name="e6e320f5c2ab4532bc0affd47f90b31c">
    <vt:lpwstr/>
  </property>
  <property fmtid="{D5CDD505-2E9C-101B-9397-08002B2CF9AE}" pid="32" name="PM_x0020_Topics">
    <vt:lpwstr/>
  </property>
  <property fmtid="{D5CDD505-2E9C-101B-9397-08002B2CF9AE}" pid="33" name="PM Topics">
    <vt:lpwstr/>
  </property>
  <property fmtid="{D5CDD505-2E9C-101B-9397-08002B2CF9AE}" pid="34" name="DocumentLink">
    <vt:lpwstr>https://uwnetid.sharepoint.com/sites/UWFTTeam//sites/UWFTTeam/Sandbox Documents/Op Model Shared Services Docs/Slide Decks Op Model Shared Services/Material Master Op Model Shared Services_PlanArchitect.pptx</vt:lpwstr>
  </property>
  <property fmtid="{D5CDD505-2E9C-101B-9397-08002B2CF9AE}" pid="35" name="SandBoxDocumentsUrl">
    <vt:lpwstr>https://uwnetid.sharepoint.com/sites/UWFTTeam/_layouts/15/wrkstat.aspx?List=9a6372f2-1c1b-4a2c-afb2-3bd48b102e88&amp;WorkflowInstanceName=d74b6768-3874-4890-96d3-1a38e71ff486, Set URL</vt:lpwstr>
  </property>
  <property fmtid="{D5CDD505-2E9C-101B-9397-08002B2CF9AE}" pid="36" name="h9d20ee9cd914b71a0d5343b7a0aee19">
    <vt:lpwstr>Template|ab09379f-8e9c-4109-ac8e-967692de8f42</vt:lpwstr>
  </property>
  <property fmtid="{D5CDD505-2E9C-101B-9397-08002B2CF9AE}" pid="37" name="d81b5cf1e51943db95f66400bc834c31">
    <vt:lpwstr/>
  </property>
  <property fmtid="{D5CDD505-2E9C-101B-9397-08002B2CF9AE}" pid="38" name="caa3166a4ef44d52a884ec95dadc7085">
    <vt:lpwstr/>
  </property>
  <property fmtid="{D5CDD505-2E9C-101B-9397-08002B2CF9AE}" pid="39" name="Type SB">
    <vt:lpwstr>627;#_TBD Type|81f31b21-3e0f-4e81-bd21-3459148e0219</vt:lpwstr>
  </property>
  <property fmtid="{D5CDD505-2E9C-101B-9397-08002B2CF9AE}" pid="40" name="_docset_NoMedatataSyncRequired">
    <vt:lpwstr>False</vt:lpwstr>
  </property>
  <property fmtid="{D5CDD505-2E9C-101B-9397-08002B2CF9AE}" pid="41" name="Status SB">
    <vt:lpwstr>NA</vt:lpwstr>
  </property>
  <property fmtid="{D5CDD505-2E9C-101B-9397-08002B2CF9AE}" pid="42" name="Stage - SB">
    <vt:lpwstr>Configure and Prototype</vt:lpwstr>
  </property>
  <property fmtid="{D5CDD505-2E9C-101B-9397-08002B2CF9AE}" pid="43" name="g8ecfd6069cd4448a46f82c4ec933d65">
    <vt:lpwstr>_TBD Type|81f31b21-3e0f-4e81-bd21-3459148e0219</vt:lpwstr>
  </property>
  <property fmtid="{D5CDD505-2E9C-101B-9397-08002B2CF9AE}" pid="44" name="h5e7189ca4ac4979a0394616daf355b0">
    <vt:lpwstr>TBD Effort|ac059e7d-4f3a-4f3a-aae6-1959af6dadf3</vt:lpwstr>
  </property>
  <property fmtid="{D5CDD505-2E9C-101B-9397-08002B2CF9AE}" pid="45" name="Process Areas L2">
    <vt:lpwstr/>
  </property>
  <property fmtid="{D5CDD505-2E9C-101B-9397-08002B2CF9AE}" pid="46" name="DocumentSetDescription">
    <vt:lpwstr/>
  </property>
  <property fmtid="{D5CDD505-2E9C-101B-9397-08002B2CF9AE}" pid="47" name="xd_ProgID">
    <vt:lpwstr/>
  </property>
  <property fmtid="{D5CDD505-2E9C-101B-9397-08002B2CF9AE}" pid="48" name="ComplianceAssetId">
    <vt:lpwstr/>
  </property>
  <property fmtid="{D5CDD505-2E9C-101B-9397-08002B2CF9AE}" pid="49" name="TemplateUrl">
    <vt:lpwstr/>
  </property>
  <property fmtid="{D5CDD505-2E9C-101B-9397-08002B2CF9AE}" pid="50" name="xd_Signature">
    <vt:bool>false</vt:bool>
  </property>
  <property fmtid="{D5CDD505-2E9C-101B-9397-08002B2CF9AE}" pid="51" name="MSIP_Label_ea60d57e-af5b-4752-ac57-3e4f28ca11dc_Enabled">
    <vt:lpwstr>true</vt:lpwstr>
  </property>
  <property fmtid="{D5CDD505-2E9C-101B-9397-08002B2CF9AE}" pid="52" name="MSIP_Label_ea60d57e-af5b-4752-ac57-3e4f28ca11dc_SetDate">
    <vt:lpwstr>2021-06-02T16:38:29Z</vt:lpwstr>
  </property>
  <property fmtid="{D5CDD505-2E9C-101B-9397-08002B2CF9AE}" pid="53" name="MSIP_Label_ea60d57e-af5b-4752-ac57-3e4f28ca11dc_Method">
    <vt:lpwstr>Standard</vt:lpwstr>
  </property>
  <property fmtid="{D5CDD505-2E9C-101B-9397-08002B2CF9AE}" pid="54" name="MSIP_Label_ea60d57e-af5b-4752-ac57-3e4f28ca11dc_Name">
    <vt:lpwstr>ea60d57e-af5b-4752-ac57-3e4f28ca11dc</vt:lpwstr>
  </property>
  <property fmtid="{D5CDD505-2E9C-101B-9397-08002B2CF9AE}" pid="55" name="MSIP_Label_ea60d57e-af5b-4752-ac57-3e4f28ca11dc_SiteId">
    <vt:lpwstr>36da45f1-dd2c-4d1f-af13-5abe46b99921</vt:lpwstr>
  </property>
  <property fmtid="{D5CDD505-2E9C-101B-9397-08002B2CF9AE}" pid="56" name="MSIP_Label_ea60d57e-af5b-4752-ac57-3e4f28ca11dc_ActionId">
    <vt:lpwstr>bba6b171-c4d7-4ece-8313-ea277101de26</vt:lpwstr>
  </property>
  <property fmtid="{D5CDD505-2E9C-101B-9397-08002B2CF9AE}" pid="57" name="MSIP_Label_ea60d57e-af5b-4752-ac57-3e4f28ca11dc_ContentBits">
    <vt:lpwstr>0</vt:lpwstr>
  </property>
  <property fmtid="{D5CDD505-2E9C-101B-9397-08002B2CF9AE}" pid="58" name="Process Areas - UWFT">
    <vt:lpwstr>5;#_NA Not Applicable|da71a9cd-6e60-49f6-8dde-ddeb91baa0aa</vt:lpwstr>
  </property>
  <property fmtid="{D5CDD505-2E9C-101B-9397-08002B2CF9AE}" pid="59" name="Doc Type - UWFT">
    <vt:lpwstr>3;#Organizing/Monitoring Work in Progress|c40c95eb-337c-4daa-8d2e-8e12d1a00b16</vt:lpwstr>
  </property>
  <property fmtid="{D5CDD505-2E9C-101B-9397-08002B2CF9AE}" pid="60" name="MediaServiceImageTags">
    <vt:lpwstr/>
  </property>
  <property fmtid="{D5CDD505-2E9C-101B-9397-08002B2CF9AE}" pid="61" name="Deliverables">
    <vt:lpwstr>593;#Op Model Effort|c89a1adc-edf5-4c45-9973-4de29aa4cbc4</vt:lpwstr>
  </property>
  <property fmtid="{D5CDD505-2E9C-101B-9397-08002B2CF9AE}" pid="62" name="Deliverable Type">
    <vt:lpwstr>NA</vt:lpwstr>
  </property>
  <property fmtid="{D5CDD505-2E9C-101B-9397-08002B2CF9AE}" pid="63" name="SharedWithUsers">
    <vt:lpwstr/>
  </property>
  <property fmtid="{D5CDD505-2E9C-101B-9397-08002B2CF9AE}" pid="64" name="lcf76f155ced4ddcb4097134ff3c332f">
    <vt:lpwstr/>
  </property>
  <property fmtid="{D5CDD505-2E9C-101B-9397-08002B2CF9AE}" pid="65" name="m20dcd23bfb146678cfadc0f8b530117">
    <vt:lpwstr/>
  </property>
  <property fmtid="{D5CDD505-2E9C-101B-9397-08002B2CF9AE}" pid="66" name="cfda4c2e6eaa4b919c52782db5a3950d">
    <vt:lpwstr/>
  </property>
  <property fmtid="{D5CDD505-2E9C-101B-9397-08002B2CF9AE}" pid="67" name="jfa7385944014aa794a01674ea6d4a75">
    <vt:lpwstr/>
  </property>
  <property fmtid="{D5CDD505-2E9C-101B-9397-08002B2CF9AE}" pid="68" name="_ExtendedDescription">
    <vt:lpwstr/>
  </property>
  <property fmtid="{D5CDD505-2E9C-101B-9397-08002B2CF9AE}" pid="69" name="Topic - UWFT">
    <vt:lpwstr>6;#Op Model Effort|c89a1adc-edf5-4c45-9973-4de29aa4cbc4</vt:lpwstr>
  </property>
  <property fmtid="{D5CDD505-2E9C-101B-9397-08002B2CF9AE}" pid="70" name="f1d40a61100d4fd78c055bcbbc959a60">
    <vt:lpwstr>_NA Not Applicable|da71a9cd-6e60-49f6-8dde-ddeb91baa0aa</vt:lpwstr>
  </property>
  <property fmtid="{D5CDD505-2E9C-101B-9397-08002B2CF9AE}" pid="71" name="e0554abe769746e69c042ffe99e604b4">
    <vt:lpwstr>Op Model Effort|c89a1adc-edf5-4c45-9973-4de29aa4cbc4</vt:lpwstr>
  </property>
  <property fmtid="{D5CDD505-2E9C-101B-9397-08002B2CF9AE}" pid="72" name="h8618d58416d42168e7ab0429ee6aab7">
    <vt:lpwstr>Organizing/Monitoring Work in Progress|c40c95eb-337c-4daa-8d2e-8e12d1a00b16</vt:lpwstr>
  </property>
  <property fmtid="{D5CDD505-2E9C-101B-9397-08002B2CF9AE}" pid="73" name="_dlc_DocIdItemGuid">
    <vt:lpwstr>68e3dbfa-d383-48c7-8e00-ded23ed5205c</vt:lpwstr>
  </property>
  <property fmtid="{D5CDD505-2E9C-101B-9397-08002B2CF9AE}" pid="74" name="ContentTypeId">
    <vt:lpwstr>0x01010090E5E4E48944904EA29CA8A60EB3DD4A</vt:lpwstr>
  </property>
</Properties>
</file>